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av" ContentType="audio/wa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522" r:id="rId3"/>
    <p:sldId id="473" r:id="rId4"/>
    <p:sldId id="516" r:id="rId5"/>
    <p:sldId id="517" r:id="rId6"/>
    <p:sldId id="518" r:id="rId7"/>
    <p:sldId id="508" r:id="rId8"/>
    <p:sldId id="446" r:id="rId9"/>
    <p:sldId id="444" r:id="rId10"/>
    <p:sldId id="441" r:id="rId11"/>
    <p:sldId id="475" r:id="rId12"/>
    <p:sldId id="463" r:id="rId13"/>
    <p:sldId id="464" r:id="rId14"/>
    <p:sldId id="433" r:id="rId15"/>
    <p:sldId id="519" r:id="rId16"/>
    <p:sldId id="520" r:id="rId17"/>
    <p:sldId id="521" r:id="rId18"/>
    <p:sldId id="525" r:id="rId19"/>
    <p:sldId id="523" r:id="rId20"/>
    <p:sldId id="524" r:id="rId21"/>
    <p:sldId id="497" r:id="rId22"/>
  </p:sldIdLst>
  <p:sldSz cx="9144000" cy="6858000" type="screen4x3"/>
  <p:notesSz cx="6797675" cy="992822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charset="-127"/>
        <a:ea typeface="굴림" charset="-127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CC"/>
    <a:srgbClr val="006600"/>
    <a:srgbClr val="F1F2C6"/>
    <a:srgbClr val="FFCCFF"/>
    <a:srgbClr val="9FEDFF"/>
    <a:srgbClr val="9933FF"/>
    <a:srgbClr val="CC66FF"/>
    <a:srgbClr val="9900FF"/>
    <a:srgbClr val="E960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밝은 스타일 3 - 강조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밝은 스타일 3 - 강조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15" autoAdjust="0"/>
    <p:restoredTop sz="88889" autoAdjust="0"/>
  </p:normalViewPr>
  <p:slideViewPr>
    <p:cSldViewPr>
      <p:cViewPr>
        <p:scale>
          <a:sx n="80" d="100"/>
          <a:sy n="80" d="100"/>
        </p:scale>
        <p:origin x="-126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7008"/>
    </p:cViewPr>
  </p:sorterViewPr>
  <p:notesViewPr>
    <p:cSldViewPr>
      <p:cViewPr varScale="1">
        <p:scale>
          <a:sx n="76" d="100"/>
          <a:sy n="76" d="100"/>
        </p:scale>
        <p:origin x="-2298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64FBED-F0D5-4DCE-BB4B-2B0770205B52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F594B7C2-4470-47F0-B623-C93789C7136A}">
      <dgm:prSet phldrT="[Text]" custT="1"/>
      <dgm:spPr/>
      <dgm:t>
        <a:bodyPr/>
        <a:lstStyle/>
        <a:p>
          <a:r>
            <a:rPr lang="en-US" sz="1800" noProof="0" dirty="0" smtClean="0">
              <a:latin typeface="Arial" pitchFamily="34" charset="0"/>
              <a:cs typeface="Arial" pitchFamily="34" charset="0"/>
            </a:rPr>
            <a:t>Instrument</a:t>
          </a:r>
          <a:br>
            <a:rPr lang="en-US" sz="1800" noProof="0" dirty="0" smtClean="0">
              <a:latin typeface="Arial" pitchFamily="34" charset="0"/>
              <a:cs typeface="Arial" pitchFamily="34" charset="0"/>
            </a:rPr>
          </a:br>
          <a:r>
            <a:rPr lang="en-GB" sz="1800" noProof="0" dirty="0" smtClean="0">
              <a:latin typeface="Arial" pitchFamily="34" charset="0"/>
              <a:cs typeface="Arial" pitchFamily="34" charset="0"/>
            </a:rPr>
            <a:t>behaviour</a:t>
          </a:r>
          <a:r>
            <a:rPr lang="en-US" sz="1800" noProof="0" dirty="0" smtClean="0">
              <a:latin typeface="Arial" pitchFamily="34" charset="0"/>
              <a:cs typeface="Arial" pitchFamily="34" charset="0"/>
            </a:rPr>
            <a:t/>
          </a:r>
          <a:br>
            <a:rPr lang="en-US" sz="1800" noProof="0" dirty="0" smtClean="0">
              <a:latin typeface="Arial" pitchFamily="34" charset="0"/>
              <a:cs typeface="Arial" pitchFamily="34" charset="0"/>
            </a:rPr>
          </a:br>
          <a:r>
            <a:rPr lang="en-US" sz="1800" noProof="0" dirty="0" smtClean="0">
              <a:latin typeface="Arial" pitchFamily="34" charset="0"/>
              <a:cs typeface="Arial" pitchFamily="34" charset="0"/>
            </a:rPr>
            <a:t>assessment </a:t>
          </a:r>
        </a:p>
      </dgm:t>
    </dgm:pt>
    <dgm:pt modelId="{97C3D7E3-8BAF-4EB3-8189-2325243A4923}" type="parTrans" cxnId="{04B27290-AEB2-4700-B7E5-3DD0C00DEAE4}">
      <dgm:prSet/>
      <dgm:spPr/>
      <dgm:t>
        <a:bodyPr/>
        <a:lstStyle/>
        <a:p>
          <a:endParaRPr lang="en-US" sz="1800">
            <a:latin typeface="Arial" pitchFamily="34" charset="0"/>
            <a:cs typeface="Arial" pitchFamily="34" charset="0"/>
          </a:endParaRPr>
        </a:p>
      </dgm:t>
    </dgm:pt>
    <dgm:pt modelId="{A670B2B1-B64B-4496-B01D-8D3D4F75E541}" type="sibTrans" cxnId="{04B27290-AEB2-4700-B7E5-3DD0C00DEAE4}">
      <dgm:prSet/>
      <dgm:spPr/>
      <dgm:t>
        <a:bodyPr/>
        <a:lstStyle/>
        <a:p>
          <a:endParaRPr lang="en-US" sz="1800">
            <a:latin typeface="Arial" pitchFamily="34" charset="0"/>
            <a:cs typeface="Arial" pitchFamily="34" charset="0"/>
          </a:endParaRPr>
        </a:p>
      </dgm:t>
    </dgm:pt>
    <dgm:pt modelId="{0728B772-B49B-4E2C-81B6-54DD6C7EF673}">
      <dgm:prSet phldrT="[Text]" custT="1"/>
      <dgm:spPr/>
      <dgm:t>
        <a:bodyPr/>
        <a:lstStyle/>
        <a:p>
          <a:r>
            <a:rPr lang="en-US" sz="1800" noProof="0" dirty="0" smtClean="0">
              <a:latin typeface="Arial" pitchFamily="34" charset="0"/>
              <a:cs typeface="Arial" pitchFamily="34" charset="0"/>
            </a:rPr>
            <a:t>Instrument</a:t>
          </a:r>
          <a:br>
            <a:rPr lang="en-US" sz="1800" noProof="0" dirty="0" smtClean="0">
              <a:latin typeface="Arial" pitchFamily="34" charset="0"/>
              <a:cs typeface="Arial" pitchFamily="34" charset="0"/>
            </a:rPr>
          </a:br>
          <a:r>
            <a:rPr lang="en-US" sz="1800" noProof="0" dirty="0" smtClean="0">
              <a:latin typeface="Arial" pitchFamily="34" charset="0"/>
              <a:cs typeface="Arial" pitchFamily="34" charset="0"/>
            </a:rPr>
            <a:t> correction</a:t>
          </a:r>
          <a:br>
            <a:rPr lang="en-US" sz="1800" noProof="0" dirty="0" smtClean="0">
              <a:latin typeface="Arial" pitchFamily="34" charset="0"/>
              <a:cs typeface="Arial" pitchFamily="34" charset="0"/>
            </a:rPr>
          </a:br>
          <a:r>
            <a:rPr lang="en-US" sz="1800" noProof="0" dirty="0" smtClean="0">
              <a:latin typeface="Arial" pitchFamily="34" charset="0"/>
              <a:cs typeface="Arial" pitchFamily="34" charset="0"/>
            </a:rPr>
            <a:t>algorithms</a:t>
          </a:r>
        </a:p>
      </dgm:t>
    </dgm:pt>
    <dgm:pt modelId="{6D39D753-A435-42D2-BFB6-5BB510FB5EDD}" type="parTrans" cxnId="{0D47B38C-B1FE-47DA-8911-8D1115D75B5F}">
      <dgm:prSet/>
      <dgm:spPr/>
      <dgm:t>
        <a:bodyPr/>
        <a:lstStyle/>
        <a:p>
          <a:endParaRPr lang="en-US" sz="1800">
            <a:latin typeface="Arial" pitchFamily="34" charset="0"/>
            <a:cs typeface="Arial" pitchFamily="34" charset="0"/>
          </a:endParaRPr>
        </a:p>
      </dgm:t>
    </dgm:pt>
    <dgm:pt modelId="{BA078711-A030-46F1-8037-8B2A34E25579}" type="sibTrans" cxnId="{0D47B38C-B1FE-47DA-8911-8D1115D75B5F}">
      <dgm:prSet/>
      <dgm:spPr/>
      <dgm:t>
        <a:bodyPr/>
        <a:lstStyle/>
        <a:p>
          <a:endParaRPr lang="en-US" sz="1800">
            <a:latin typeface="Arial" pitchFamily="34" charset="0"/>
            <a:cs typeface="Arial" pitchFamily="34" charset="0"/>
          </a:endParaRPr>
        </a:p>
      </dgm:t>
    </dgm:pt>
    <dgm:pt modelId="{C349A419-4E6C-48BB-A5F3-560FDA59D057}" type="pres">
      <dgm:prSet presAssocID="{7764FBED-F0D5-4DCE-BB4B-2B0770205B52}" presName="CompostProcess" presStyleCnt="0">
        <dgm:presLayoutVars>
          <dgm:dir/>
          <dgm:resizeHandles val="exact"/>
        </dgm:presLayoutVars>
      </dgm:prSet>
      <dgm:spPr/>
    </dgm:pt>
    <dgm:pt modelId="{DA5BFB2E-587A-4EF4-9F45-222490CAB17A}" type="pres">
      <dgm:prSet presAssocID="{7764FBED-F0D5-4DCE-BB4B-2B0770205B52}" presName="arrow" presStyleLbl="bgShp" presStyleIdx="0" presStyleCnt="1" custScaleX="101086" custLinFactNeighborX="3782"/>
      <dgm:spPr>
        <a:ln>
          <a:solidFill>
            <a:schemeClr val="tx2">
              <a:lumMod val="50000"/>
            </a:schemeClr>
          </a:solidFill>
        </a:ln>
      </dgm:spPr>
    </dgm:pt>
    <dgm:pt modelId="{B5FDAB3F-E954-4E64-8C73-70FCA9E54023}" type="pres">
      <dgm:prSet presAssocID="{7764FBED-F0D5-4DCE-BB4B-2B0770205B52}" presName="linearProcess" presStyleCnt="0"/>
      <dgm:spPr/>
    </dgm:pt>
    <dgm:pt modelId="{6EF6EE4F-7D8A-477C-8D01-4BAF2120E682}" type="pres">
      <dgm:prSet presAssocID="{F594B7C2-4470-47F0-B623-C93789C7136A}" presName="textNode" presStyleLbl="node1" presStyleIdx="0" presStyleCnt="2" custScaleX="102255" custScaleY="106687" custLinFactNeighborX="-691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956064-A529-4B0B-9BB0-79F620ED8BAD}" type="pres">
      <dgm:prSet presAssocID="{A670B2B1-B64B-4496-B01D-8D3D4F75E541}" presName="sibTrans" presStyleCnt="0"/>
      <dgm:spPr/>
    </dgm:pt>
    <dgm:pt modelId="{88A755E8-FC2A-443D-8B8F-B4C33D8F9C88}" type="pres">
      <dgm:prSet presAssocID="{0728B772-B49B-4E2C-81B6-54DD6C7EF673}" presName="textNode" presStyleLbl="node1" presStyleIdx="1" presStyleCnt="2" custScaleX="132713" custLinFactX="-1613" custLinFactNeighborX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A560ED7-E365-4171-88C3-2548F447A5BB}" type="presOf" srcId="{0728B772-B49B-4E2C-81B6-54DD6C7EF673}" destId="{88A755E8-FC2A-443D-8B8F-B4C33D8F9C88}" srcOrd="0" destOrd="0" presId="urn:microsoft.com/office/officeart/2005/8/layout/hProcess9"/>
    <dgm:cxn modelId="{04B27290-AEB2-4700-B7E5-3DD0C00DEAE4}" srcId="{7764FBED-F0D5-4DCE-BB4B-2B0770205B52}" destId="{F594B7C2-4470-47F0-B623-C93789C7136A}" srcOrd="0" destOrd="0" parTransId="{97C3D7E3-8BAF-4EB3-8189-2325243A4923}" sibTransId="{A670B2B1-B64B-4496-B01D-8D3D4F75E541}"/>
    <dgm:cxn modelId="{0D47B38C-B1FE-47DA-8911-8D1115D75B5F}" srcId="{7764FBED-F0D5-4DCE-BB4B-2B0770205B52}" destId="{0728B772-B49B-4E2C-81B6-54DD6C7EF673}" srcOrd="1" destOrd="0" parTransId="{6D39D753-A435-42D2-BFB6-5BB510FB5EDD}" sibTransId="{BA078711-A030-46F1-8037-8B2A34E25579}"/>
    <dgm:cxn modelId="{F1B6454C-C40A-40A4-AC59-13B1E3B17F0D}" type="presOf" srcId="{7764FBED-F0D5-4DCE-BB4B-2B0770205B52}" destId="{C349A419-4E6C-48BB-A5F3-560FDA59D057}" srcOrd="0" destOrd="0" presId="urn:microsoft.com/office/officeart/2005/8/layout/hProcess9"/>
    <dgm:cxn modelId="{8C1C3E9D-C6F9-4D85-8980-EFAD6A3D7E62}" type="presOf" srcId="{F594B7C2-4470-47F0-B623-C93789C7136A}" destId="{6EF6EE4F-7D8A-477C-8D01-4BAF2120E682}" srcOrd="0" destOrd="0" presId="urn:microsoft.com/office/officeart/2005/8/layout/hProcess9"/>
    <dgm:cxn modelId="{D22E1917-09CE-4662-AC8B-C15034C5E3BF}" type="presParOf" srcId="{C349A419-4E6C-48BB-A5F3-560FDA59D057}" destId="{DA5BFB2E-587A-4EF4-9F45-222490CAB17A}" srcOrd="0" destOrd="0" presId="urn:microsoft.com/office/officeart/2005/8/layout/hProcess9"/>
    <dgm:cxn modelId="{B93DEE70-B0DB-4853-89C5-5EEAD28D73BC}" type="presParOf" srcId="{C349A419-4E6C-48BB-A5F3-560FDA59D057}" destId="{B5FDAB3F-E954-4E64-8C73-70FCA9E54023}" srcOrd="1" destOrd="0" presId="urn:microsoft.com/office/officeart/2005/8/layout/hProcess9"/>
    <dgm:cxn modelId="{67B9D05B-F595-480B-9A3B-2D68A9A0E194}" type="presParOf" srcId="{B5FDAB3F-E954-4E64-8C73-70FCA9E54023}" destId="{6EF6EE4F-7D8A-477C-8D01-4BAF2120E682}" srcOrd="0" destOrd="0" presId="urn:microsoft.com/office/officeart/2005/8/layout/hProcess9"/>
    <dgm:cxn modelId="{E2972728-0C13-4AB8-BA3B-3E6385EC5221}" type="presParOf" srcId="{B5FDAB3F-E954-4E64-8C73-70FCA9E54023}" destId="{F9956064-A529-4B0B-9BB0-79F620ED8BAD}" srcOrd="1" destOrd="0" presId="urn:microsoft.com/office/officeart/2005/8/layout/hProcess9"/>
    <dgm:cxn modelId="{ED28386B-FB4D-4789-AB12-CAB4FD16C72B}" type="presParOf" srcId="{B5FDAB3F-E954-4E64-8C73-70FCA9E54023}" destId="{88A755E8-FC2A-443D-8B8F-B4C33D8F9C88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7E2980F-552B-4A1A-B9B6-FA6C23A3AF4C}" type="doc">
      <dgm:prSet loTypeId="urn:microsoft.com/office/officeart/2005/8/layout/hierarchy6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7782684-790B-4760-9B0A-9D107594E2AC}">
      <dgm:prSet phldrT="[Text]"/>
      <dgm:spPr>
        <a:solidFill>
          <a:srgbClr val="C0E498"/>
        </a:solidFill>
      </dgm:spPr>
      <dgm:t>
        <a:bodyPr/>
        <a:lstStyle/>
        <a:p>
          <a:r>
            <a:rPr lang="en-GB" b="1" dirty="0" smtClean="0">
              <a:latin typeface="Arial" pitchFamily="34" charset="0"/>
              <a:cs typeface="Arial" pitchFamily="34" charset="0"/>
            </a:rPr>
            <a:t>GSICS Exec Panel</a:t>
          </a:r>
          <a:endParaRPr lang="en-GB" b="1" dirty="0">
            <a:latin typeface="Arial" pitchFamily="34" charset="0"/>
            <a:cs typeface="Arial" pitchFamily="34" charset="0"/>
          </a:endParaRPr>
        </a:p>
      </dgm:t>
    </dgm:pt>
    <dgm:pt modelId="{FEC727C1-9ACB-4E82-A3DB-82A69E0A01EF}" type="parTrans" cxnId="{3EB07BB7-1FBB-4E30-997A-47ED4DEFBC7C}">
      <dgm:prSet/>
      <dgm:spPr/>
      <dgm:t>
        <a:bodyPr/>
        <a:lstStyle/>
        <a:p>
          <a:endParaRPr lang="en-GB"/>
        </a:p>
      </dgm:t>
    </dgm:pt>
    <dgm:pt modelId="{413E1536-1C2E-436D-9C02-5C85F1016F37}" type="sibTrans" cxnId="{3EB07BB7-1FBB-4E30-997A-47ED4DEFBC7C}">
      <dgm:prSet/>
      <dgm:spPr/>
      <dgm:t>
        <a:bodyPr/>
        <a:lstStyle/>
        <a:p>
          <a:endParaRPr lang="en-GB"/>
        </a:p>
      </dgm:t>
    </dgm:pt>
    <dgm:pt modelId="{F62CF2BB-A131-4A46-A38D-4EE427A3C154}">
      <dgm:prSet phldrT="[Text]"/>
      <dgm:spPr>
        <a:solidFill>
          <a:srgbClr val="92D050"/>
        </a:solidFill>
      </dgm:spPr>
      <dgm:t>
        <a:bodyPr/>
        <a:lstStyle/>
        <a:p>
          <a:r>
            <a:rPr lang="en-GB" b="1" dirty="0" smtClean="0">
              <a:latin typeface="Arial" pitchFamily="34" charset="0"/>
              <a:cs typeface="Arial" pitchFamily="34" charset="0"/>
            </a:rPr>
            <a:t>GSICS Coordination </a:t>
          </a:r>
          <a:r>
            <a:rPr lang="en-GB" b="1" dirty="0" err="1" smtClean="0">
              <a:latin typeface="Arial" pitchFamily="34" charset="0"/>
              <a:cs typeface="Arial" pitchFamily="34" charset="0"/>
            </a:rPr>
            <a:t>Center</a:t>
          </a:r>
          <a:endParaRPr lang="en-GB" b="1" dirty="0">
            <a:latin typeface="Arial" pitchFamily="34" charset="0"/>
            <a:cs typeface="Arial" pitchFamily="34" charset="0"/>
          </a:endParaRPr>
        </a:p>
      </dgm:t>
    </dgm:pt>
    <dgm:pt modelId="{9CAFCFD9-41DC-4BCA-A2DB-4FE12B7EB1C1}" type="parTrans" cxnId="{8A9F98C2-E0E1-4ACF-A784-620FED42F280}">
      <dgm:prSet/>
      <dgm:spPr/>
      <dgm:t>
        <a:bodyPr/>
        <a:lstStyle/>
        <a:p>
          <a:endParaRPr lang="en-GB"/>
        </a:p>
      </dgm:t>
    </dgm:pt>
    <dgm:pt modelId="{93E429C4-5275-4A16-BC45-1CE0551C9DFF}" type="sibTrans" cxnId="{8A9F98C2-E0E1-4ACF-A784-620FED42F280}">
      <dgm:prSet/>
      <dgm:spPr/>
      <dgm:t>
        <a:bodyPr/>
        <a:lstStyle/>
        <a:p>
          <a:endParaRPr lang="en-GB"/>
        </a:p>
      </dgm:t>
    </dgm:pt>
    <dgm:pt modelId="{557CE354-969C-498D-86A0-8683AADBA258}">
      <dgm:prSet phldrT="[Text]"/>
      <dgm:spPr>
        <a:solidFill>
          <a:srgbClr val="92D050"/>
        </a:solidFill>
      </dgm:spPr>
      <dgm:t>
        <a:bodyPr/>
        <a:lstStyle/>
        <a:p>
          <a:r>
            <a:rPr lang="en-GB" b="1" dirty="0" smtClean="0">
              <a:latin typeface="Arial" pitchFamily="34" charset="0"/>
              <a:cs typeface="Arial" pitchFamily="34" charset="0"/>
            </a:rPr>
            <a:t>GSICS Research Working Group</a:t>
          </a:r>
          <a:endParaRPr lang="en-GB" b="1" dirty="0">
            <a:latin typeface="Arial" pitchFamily="34" charset="0"/>
            <a:cs typeface="Arial" pitchFamily="34" charset="0"/>
          </a:endParaRPr>
        </a:p>
      </dgm:t>
    </dgm:pt>
    <dgm:pt modelId="{311A8585-A2AB-4AC2-8487-1A4864E3A5CA}" type="parTrans" cxnId="{DEA1E4A9-08E9-420C-A465-02DDD1B26F96}">
      <dgm:prSet/>
      <dgm:spPr/>
      <dgm:t>
        <a:bodyPr/>
        <a:lstStyle/>
        <a:p>
          <a:endParaRPr lang="en-GB"/>
        </a:p>
      </dgm:t>
    </dgm:pt>
    <dgm:pt modelId="{643AD364-E195-49CC-BA95-15EB1B2F665A}" type="sibTrans" cxnId="{DEA1E4A9-08E9-420C-A465-02DDD1B26F96}">
      <dgm:prSet/>
      <dgm:spPr/>
      <dgm:t>
        <a:bodyPr/>
        <a:lstStyle/>
        <a:p>
          <a:endParaRPr lang="en-GB"/>
        </a:p>
      </dgm:t>
    </dgm:pt>
    <dgm:pt modelId="{B6FE41D9-2071-4A18-B0AA-BB6277BDD8DC}">
      <dgm:prSet phldrT="[Text]"/>
      <dgm:spPr>
        <a:solidFill>
          <a:srgbClr val="92D050"/>
        </a:solidFill>
      </dgm:spPr>
      <dgm:t>
        <a:bodyPr/>
        <a:lstStyle/>
        <a:p>
          <a:r>
            <a:rPr lang="en-GB" b="1" dirty="0" smtClean="0">
              <a:latin typeface="Arial" pitchFamily="34" charset="0"/>
              <a:cs typeface="Arial" pitchFamily="34" charset="0"/>
            </a:rPr>
            <a:t>GSICS Data Working Group</a:t>
          </a:r>
          <a:endParaRPr lang="en-GB" b="1" dirty="0">
            <a:latin typeface="Arial" pitchFamily="34" charset="0"/>
            <a:cs typeface="Arial" pitchFamily="34" charset="0"/>
          </a:endParaRPr>
        </a:p>
      </dgm:t>
    </dgm:pt>
    <dgm:pt modelId="{1D931AE9-B218-413B-9CE4-4FEFF5FCD25E}" type="parTrans" cxnId="{9F7022CE-89C1-46AB-A741-6E5B4E23906E}">
      <dgm:prSet/>
      <dgm:spPr/>
      <dgm:t>
        <a:bodyPr/>
        <a:lstStyle/>
        <a:p>
          <a:endParaRPr lang="en-GB"/>
        </a:p>
      </dgm:t>
    </dgm:pt>
    <dgm:pt modelId="{C064E780-1C17-4A71-B86F-1D74C2DFD8FB}" type="sibTrans" cxnId="{9F7022CE-89C1-46AB-A741-6E5B4E23906E}">
      <dgm:prSet/>
      <dgm:spPr/>
      <dgm:t>
        <a:bodyPr/>
        <a:lstStyle/>
        <a:p>
          <a:endParaRPr lang="en-GB"/>
        </a:p>
      </dgm:t>
    </dgm:pt>
    <dgm:pt modelId="{745F9827-BD5B-4BFD-B04A-2B09C1201DCF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UV </a:t>
          </a:r>
          <a:br>
            <a:rPr lang="en-GB" dirty="0" smtClean="0">
              <a:latin typeface="Arial" pitchFamily="34" charset="0"/>
              <a:cs typeface="Arial" pitchFamily="34" charset="0"/>
            </a:rPr>
          </a:br>
          <a:r>
            <a:rPr lang="en-GB" dirty="0" smtClean="0">
              <a:latin typeface="Arial" pitchFamily="34" charset="0"/>
              <a:cs typeface="Arial" pitchFamily="34" charset="0"/>
            </a:rPr>
            <a:t>Sub-Group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12AC806E-ED55-4D77-8EDB-566FC2DFCB98}" type="parTrans" cxnId="{D13FFD3B-E2C5-4B46-ACA4-FD4118BCCCEA}">
      <dgm:prSet/>
      <dgm:spPr/>
      <dgm:t>
        <a:bodyPr/>
        <a:lstStyle/>
        <a:p>
          <a:endParaRPr lang="en-GB"/>
        </a:p>
      </dgm:t>
    </dgm:pt>
    <dgm:pt modelId="{023FE213-271C-47D8-8E16-60B9F075FF7E}" type="sibTrans" cxnId="{D13FFD3B-E2C5-4B46-ACA4-FD4118BCCCEA}">
      <dgm:prSet/>
      <dgm:spPr/>
      <dgm:t>
        <a:bodyPr/>
        <a:lstStyle/>
        <a:p>
          <a:endParaRPr lang="en-GB"/>
        </a:p>
      </dgm:t>
    </dgm:pt>
    <dgm:pt modelId="{BAD0FAE7-F439-48FE-8D56-48A564937B10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IR </a:t>
          </a:r>
          <a:br>
            <a:rPr lang="en-GB" dirty="0" smtClean="0">
              <a:latin typeface="Arial" pitchFamily="34" charset="0"/>
              <a:cs typeface="Arial" pitchFamily="34" charset="0"/>
            </a:rPr>
          </a:br>
          <a:r>
            <a:rPr lang="en-GB" dirty="0" smtClean="0">
              <a:latin typeface="Arial" pitchFamily="34" charset="0"/>
              <a:cs typeface="Arial" pitchFamily="34" charset="0"/>
            </a:rPr>
            <a:t>Sub-Group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13880C4C-DC77-42DB-B27A-8CA0EBECDB36}" type="parTrans" cxnId="{D4FBDA79-D877-4442-960F-C53488554553}">
      <dgm:prSet/>
      <dgm:spPr/>
      <dgm:t>
        <a:bodyPr/>
        <a:lstStyle/>
        <a:p>
          <a:endParaRPr lang="en-GB"/>
        </a:p>
      </dgm:t>
    </dgm:pt>
    <dgm:pt modelId="{BD5758B2-8261-490C-8137-109917B3C8FD}" type="sibTrans" cxnId="{D4FBDA79-D877-4442-960F-C53488554553}">
      <dgm:prSet/>
      <dgm:spPr/>
      <dgm:t>
        <a:bodyPr/>
        <a:lstStyle/>
        <a:p>
          <a:endParaRPr lang="en-GB"/>
        </a:p>
      </dgm:t>
    </dgm:pt>
    <dgm:pt modelId="{4598A3B3-3901-4828-9374-036AFA1FEE7F}">
      <dgm:prSet phldrT="[Text]"/>
      <dgm:spPr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WGCV IVOS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31FCE2A7-13E8-457A-8A11-F26C808B746B}" type="parTrans" cxnId="{CB803872-A070-46F1-950D-5CB480DD35A6}">
      <dgm:prSet/>
      <dgm:spPr>
        <a:ln>
          <a:prstDash val="dash"/>
        </a:ln>
      </dgm:spPr>
      <dgm:t>
        <a:bodyPr/>
        <a:lstStyle/>
        <a:p>
          <a:endParaRPr lang="en-GB"/>
        </a:p>
      </dgm:t>
    </dgm:pt>
    <dgm:pt modelId="{0A640B1D-9034-4A79-9A67-75B3977B0C11}" type="sibTrans" cxnId="{CB803872-A070-46F1-950D-5CB480DD35A6}">
      <dgm:prSet/>
      <dgm:spPr/>
      <dgm:t>
        <a:bodyPr/>
        <a:lstStyle/>
        <a:p>
          <a:endParaRPr lang="en-GB"/>
        </a:p>
      </dgm:t>
    </dgm:pt>
    <dgm:pt modelId="{58B5E815-58A2-434E-981F-5BD8E0B73075}">
      <dgm:prSet phldrT="[Text]"/>
      <dgm:spPr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WGCV MWSG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2E378717-0A05-4F46-B6C9-734786EC54B4}" type="parTrans" cxnId="{53A85788-B69B-488C-8669-CD112C726E46}">
      <dgm:prSet/>
      <dgm:spPr>
        <a:ln>
          <a:prstDash val="dash"/>
        </a:ln>
      </dgm:spPr>
      <dgm:t>
        <a:bodyPr/>
        <a:lstStyle/>
        <a:p>
          <a:endParaRPr lang="en-GB"/>
        </a:p>
      </dgm:t>
    </dgm:pt>
    <dgm:pt modelId="{4AEFE9CA-35D0-48B7-91DC-547103D21C10}" type="sibTrans" cxnId="{53A85788-B69B-488C-8669-CD112C726E46}">
      <dgm:prSet/>
      <dgm:spPr/>
      <dgm:t>
        <a:bodyPr/>
        <a:lstStyle/>
        <a:p>
          <a:endParaRPr lang="en-GB"/>
        </a:p>
      </dgm:t>
    </dgm:pt>
    <dgm:pt modelId="{34BCF48E-3B12-4B53-B38E-7546C8C0223D}">
      <dgm:prSet phldrT="[Text]"/>
      <dgm:spPr>
        <a:gradFill flip="none" rotWithShape="0">
          <a:gsLst>
            <a:gs pos="0">
              <a:srgbClr val="00B0F0">
                <a:tint val="66000"/>
                <a:satMod val="160000"/>
              </a:srgbClr>
            </a:gs>
            <a:gs pos="50000">
              <a:srgbClr val="00B0F0">
                <a:tint val="44500"/>
                <a:satMod val="160000"/>
              </a:srgbClr>
            </a:gs>
            <a:gs pos="100000">
              <a:srgbClr val="00B0F0">
                <a:tint val="23500"/>
                <a:satMod val="160000"/>
              </a:srgbClr>
            </a:gs>
          </a:gsLst>
          <a:lin ang="5400000" scaled="1"/>
          <a:tileRect/>
        </a:gra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GPM X-CAL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DC2DF1FD-2AC3-44F7-926C-E0DE510EDE67}" type="parTrans" cxnId="{F87EF945-5661-4689-A913-9D82E7E2F591}">
      <dgm:prSet/>
      <dgm:spPr>
        <a:ln>
          <a:prstDash val="dash"/>
        </a:ln>
      </dgm:spPr>
      <dgm:t>
        <a:bodyPr/>
        <a:lstStyle/>
        <a:p>
          <a:endParaRPr lang="en-GB"/>
        </a:p>
      </dgm:t>
    </dgm:pt>
    <dgm:pt modelId="{95DD8AE3-77A3-48FF-B615-842323F07751}" type="sibTrans" cxnId="{F87EF945-5661-4689-A913-9D82E7E2F591}">
      <dgm:prSet/>
      <dgm:spPr/>
      <dgm:t>
        <a:bodyPr/>
        <a:lstStyle/>
        <a:p>
          <a:endParaRPr lang="en-GB"/>
        </a:p>
      </dgm:t>
    </dgm:pt>
    <dgm:pt modelId="{61918A8B-928F-481D-A99A-797914E4D440}">
      <dgm:prSet phldrT="[Text]"/>
      <dgm:spPr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WGCV ACSG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6681B1E6-440B-4DE0-B81F-0E5A0E98B8A3}" type="parTrans" cxnId="{8FB68588-C176-426E-BC36-55F46291191E}">
      <dgm:prSet/>
      <dgm:spPr>
        <a:ln>
          <a:solidFill>
            <a:schemeClr val="tx1"/>
          </a:solidFill>
          <a:prstDash val="dash"/>
        </a:ln>
      </dgm:spPr>
      <dgm:t>
        <a:bodyPr/>
        <a:lstStyle/>
        <a:p>
          <a:endParaRPr lang="en-GB"/>
        </a:p>
      </dgm:t>
    </dgm:pt>
    <dgm:pt modelId="{02A7FB55-AF78-413B-BBB6-EEF21A54CCF7}" type="sibTrans" cxnId="{8FB68588-C176-426E-BC36-55F46291191E}">
      <dgm:prSet/>
      <dgm:spPr/>
      <dgm:t>
        <a:bodyPr/>
        <a:lstStyle/>
        <a:p>
          <a:endParaRPr lang="en-GB"/>
        </a:p>
      </dgm:t>
    </dgm:pt>
    <dgm:pt modelId="{7B4A3783-ABA4-4BCE-B63B-53D8E43DF01C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VIS/NIR </a:t>
          </a:r>
          <a:br>
            <a:rPr lang="en-GB" dirty="0" smtClean="0">
              <a:latin typeface="Arial" pitchFamily="34" charset="0"/>
              <a:cs typeface="Arial" pitchFamily="34" charset="0"/>
            </a:rPr>
          </a:br>
          <a:r>
            <a:rPr lang="en-GB" dirty="0" smtClean="0">
              <a:latin typeface="Arial" pitchFamily="34" charset="0"/>
              <a:cs typeface="Arial" pitchFamily="34" charset="0"/>
            </a:rPr>
            <a:t>Sub-Group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CA8A42EA-C7A9-44D0-9E37-CA59CA8789A6}" type="parTrans" cxnId="{EB993BFB-D439-4234-ACD3-3039F81618AE}">
      <dgm:prSet/>
      <dgm:spPr/>
      <dgm:t>
        <a:bodyPr/>
        <a:lstStyle/>
        <a:p>
          <a:endParaRPr lang="en-GB"/>
        </a:p>
      </dgm:t>
    </dgm:pt>
    <dgm:pt modelId="{816A5819-A8C6-4C77-9DBC-55222BB4CD90}" type="sibTrans" cxnId="{EB993BFB-D439-4234-ACD3-3039F81618AE}">
      <dgm:prSet/>
      <dgm:spPr/>
      <dgm:t>
        <a:bodyPr/>
        <a:lstStyle/>
        <a:p>
          <a:endParaRPr lang="en-GB"/>
        </a:p>
      </dgm:t>
    </dgm:pt>
    <dgm:pt modelId="{348DE7FB-1C22-41AA-A12C-80BA3FCB5ABA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 smtClean="0">
              <a:latin typeface="Arial" pitchFamily="34" charset="0"/>
              <a:cs typeface="Arial" pitchFamily="34" charset="0"/>
            </a:rPr>
            <a:t>Microwave Sub-Group</a:t>
          </a:r>
          <a:endParaRPr lang="en-GB" dirty="0">
            <a:latin typeface="Arial" pitchFamily="34" charset="0"/>
            <a:cs typeface="Arial" pitchFamily="34" charset="0"/>
          </a:endParaRPr>
        </a:p>
      </dgm:t>
    </dgm:pt>
    <dgm:pt modelId="{3CF917B7-4094-4917-A36C-1E60DC2D2B66}" type="parTrans" cxnId="{3529D9B8-928E-4D8C-AC9C-E8C86F1278FC}">
      <dgm:prSet/>
      <dgm:spPr/>
      <dgm:t>
        <a:bodyPr/>
        <a:lstStyle/>
        <a:p>
          <a:endParaRPr lang="en-GB"/>
        </a:p>
      </dgm:t>
    </dgm:pt>
    <dgm:pt modelId="{DC2F7B06-B713-491F-8F69-0410958B0C17}" type="sibTrans" cxnId="{3529D9B8-928E-4D8C-AC9C-E8C86F1278FC}">
      <dgm:prSet/>
      <dgm:spPr/>
      <dgm:t>
        <a:bodyPr/>
        <a:lstStyle/>
        <a:p>
          <a:endParaRPr lang="en-GB"/>
        </a:p>
      </dgm:t>
    </dgm:pt>
    <dgm:pt modelId="{ED1A0A91-3915-412D-AA76-2610BDBCC4A9}" type="pres">
      <dgm:prSet presAssocID="{27E2980F-552B-4A1A-B9B6-FA6C23A3AF4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9919A597-6EB8-443B-9666-B773DA58BD40}" type="pres">
      <dgm:prSet presAssocID="{27E2980F-552B-4A1A-B9B6-FA6C23A3AF4C}" presName="hierFlow" presStyleCnt="0"/>
      <dgm:spPr/>
    </dgm:pt>
    <dgm:pt modelId="{87A97B68-CDA3-49B9-B5D1-BD3B9565FF9C}" type="pres">
      <dgm:prSet presAssocID="{27E2980F-552B-4A1A-B9B6-FA6C23A3AF4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1F3A9A8-5A97-438B-8E24-D06BE2B80E73}" type="pres">
      <dgm:prSet presAssocID="{27782684-790B-4760-9B0A-9D107594E2AC}" presName="Name14" presStyleCnt="0"/>
      <dgm:spPr/>
    </dgm:pt>
    <dgm:pt modelId="{EB556181-2A91-461C-9FE9-2023DFCFF01D}" type="pres">
      <dgm:prSet presAssocID="{27782684-790B-4760-9B0A-9D107594E2AC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758F0C4-D11F-46E3-A44A-E8F8BBF704BF}" type="pres">
      <dgm:prSet presAssocID="{27782684-790B-4760-9B0A-9D107594E2AC}" presName="hierChild2" presStyleCnt="0"/>
      <dgm:spPr/>
    </dgm:pt>
    <dgm:pt modelId="{A1CEFBCF-63D4-4002-BA6C-5041D5A27720}" type="pres">
      <dgm:prSet presAssocID="{9CAFCFD9-41DC-4BCA-A2DB-4FE12B7EB1C1}" presName="Name19" presStyleLbl="parChTrans1D2" presStyleIdx="0" presStyleCnt="3"/>
      <dgm:spPr/>
      <dgm:t>
        <a:bodyPr/>
        <a:lstStyle/>
        <a:p>
          <a:endParaRPr lang="en-GB"/>
        </a:p>
      </dgm:t>
    </dgm:pt>
    <dgm:pt modelId="{45BE5800-E0B3-4162-BBD3-8AD55ABC0ADF}" type="pres">
      <dgm:prSet presAssocID="{F62CF2BB-A131-4A46-A38D-4EE427A3C154}" presName="Name21" presStyleCnt="0"/>
      <dgm:spPr/>
    </dgm:pt>
    <dgm:pt modelId="{1CC7C8D6-8083-4C5B-8849-4524C3E7309C}" type="pres">
      <dgm:prSet presAssocID="{F62CF2BB-A131-4A46-A38D-4EE427A3C154}" presName="level2Shape" presStyleLbl="node2" presStyleIdx="0" presStyleCnt="3"/>
      <dgm:spPr/>
      <dgm:t>
        <a:bodyPr/>
        <a:lstStyle/>
        <a:p>
          <a:endParaRPr lang="en-GB"/>
        </a:p>
      </dgm:t>
    </dgm:pt>
    <dgm:pt modelId="{2CE72C24-2240-46E7-B517-F46BDED6E586}" type="pres">
      <dgm:prSet presAssocID="{F62CF2BB-A131-4A46-A38D-4EE427A3C154}" presName="hierChild3" presStyleCnt="0"/>
      <dgm:spPr/>
    </dgm:pt>
    <dgm:pt modelId="{848E9E0F-C9B3-4EED-8F8C-99C51DB9EA4E}" type="pres">
      <dgm:prSet presAssocID="{311A8585-A2AB-4AC2-8487-1A4864E3A5CA}" presName="Name19" presStyleLbl="parChTrans1D2" presStyleIdx="1" presStyleCnt="3"/>
      <dgm:spPr/>
      <dgm:t>
        <a:bodyPr/>
        <a:lstStyle/>
        <a:p>
          <a:endParaRPr lang="en-GB"/>
        </a:p>
      </dgm:t>
    </dgm:pt>
    <dgm:pt modelId="{E4FF675F-3802-493F-B028-623C11D0EC05}" type="pres">
      <dgm:prSet presAssocID="{557CE354-969C-498D-86A0-8683AADBA258}" presName="Name21" presStyleCnt="0"/>
      <dgm:spPr/>
    </dgm:pt>
    <dgm:pt modelId="{EDA5A753-27DD-421F-BC45-07333D70FAE9}" type="pres">
      <dgm:prSet presAssocID="{557CE354-969C-498D-86A0-8683AADBA258}" presName="level2Shape" presStyleLbl="node2" presStyleIdx="1" presStyleCnt="3"/>
      <dgm:spPr/>
      <dgm:t>
        <a:bodyPr/>
        <a:lstStyle/>
        <a:p>
          <a:endParaRPr lang="en-GB"/>
        </a:p>
      </dgm:t>
    </dgm:pt>
    <dgm:pt modelId="{C0D2D671-91CA-4B17-B99F-6540DB2FDF83}" type="pres">
      <dgm:prSet presAssocID="{557CE354-969C-498D-86A0-8683AADBA258}" presName="hierChild3" presStyleCnt="0"/>
      <dgm:spPr/>
    </dgm:pt>
    <dgm:pt modelId="{380322F4-57BE-4816-807F-E12D5241257A}" type="pres">
      <dgm:prSet presAssocID="{12AC806E-ED55-4D77-8EDB-566FC2DFCB98}" presName="Name19" presStyleLbl="parChTrans1D3" presStyleIdx="0" presStyleCnt="4"/>
      <dgm:spPr/>
      <dgm:t>
        <a:bodyPr/>
        <a:lstStyle/>
        <a:p>
          <a:endParaRPr lang="en-GB"/>
        </a:p>
      </dgm:t>
    </dgm:pt>
    <dgm:pt modelId="{5419D13B-D457-49C3-9097-4B5C614644EF}" type="pres">
      <dgm:prSet presAssocID="{745F9827-BD5B-4BFD-B04A-2B09C1201DCF}" presName="Name21" presStyleCnt="0"/>
      <dgm:spPr/>
    </dgm:pt>
    <dgm:pt modelId="{31BB0742-3710-46C3-9530-D11D16964A7B}" type="pres">
      <dgm:prSet presAssocID="{745F9827-BD5B-4BFD-B04A-2B09C1201DCF}" presName="level2Shape" presStyleLbl="node3" presStyleIdx="0" presStyleCnt="4"/>
      <dgm:spPr/>
      <dgm:t>
        <a:bodyPr/>
        <a:lstStyle/>
        <a:p>
          <a:endParaRPr lang="en-GB"/>
        </a:p>
      </dgm:t>
    </dgm:pt>
    <dgm:pt modelId="{BC892C50-D5AC-408A-8B04-DB81A7716D81}" type="pres">
      <dgm:prSet presAssocID="{745F9827-BD5B-4BFD-B04A-2B09C1201DCF}" presName="hierChild3" presStyleCnt="0"/>
      <dgm:spPr/>
    </dgm:pt>
    <dgm:pt modelId="{5A5E28F9-3D69-436E-9A92-AA6BA7D31450}" type="pres">
      <dgm:prSet presAssocID="{6681B1E6-440B-4DE0-B81F-0E5A0E98B8A3}" presName="Name19" presStyleLbl="parChTrans1D4" presStyleIdx="0" presStyleCnt="4"/>
      <dgm:spPr/>
      <dgm:t>
        <a:bodyPr/>
        <a:lstStyle/>
        <a:p>
          <a:endParaRPr lang="en-GB"/>
        </a:p>
      </dgm:t>
    </dgm:pt>
    <dgm:pt modelId="{49190E9D-94EF-4FD2-801B-2E8C0D1566F9}" type="pres">
      <dgm:prSet presAssocID="{61918A8B-928F-481D-A99A-797914E4D440}" presName="Name21" presStyleCnt="0"/>
      <dgm:spPr/>
    </dgm:pt>
    <dgm:pt modelId="{24BCD09D-BB5A-493B-B4D3-FAED6B060446}" type="pres">
      <dgm:prSet presAssocID="{61918A8B-928F-481D-A99A-797914E4D440}" presName="level2Shape" presStyleLbl="node4" presStyleIdx="0" presStyleCnt="4"/>
      <dgm:spPr/>
      <dgm:t>
        <a:bodyPr/>
        <a:lstStyle/>
        <a:p>
          <a:endParaRPr lang="en-GB"/>
        </a:p>
      </dgm:t>
    </dgm:pt>
    <dgm:pt modelId="{022E8673-BB36-4A45-91AC-36D2B4312879}" type="pres">
      <dgm:prSet presAssocID="{61918A8B-928F-481D-A99A-797914E4D440}" presName="hierChild3" presStyleCnt="0"/>
      <dgm:spPr/>
    </dgm:pt>
    <dgm:pt modelId="{96D513FE-8BF4-4854-BAE2-47D418A0EA24}" type="pres">
      <dgm:prSet presAssocID="{CA8A42EA-C7A9-44D0-9E37-CA59CA8789A6}" presName="Name19" presStyleLbl="parChTrans1D3" presStyleIdx="1" presStyleCnt="4"/>
      <dgm:spPr/>
      <dgm:t>
        <a:bodyPr/>
        <a:lstStyle/>
        <a:p>
          <a:endParaRPr lang="en-GB"/>
        </a:p>
      </dgm:t>
    </dgm:pt>
    <dgm:pt modelId="{77DCEE91-BB91-4414-BE19-9AD9DB906ED0}" type="pres">
      <dgm:prSet presAssocID="{7B4A3783-ABA4-4BCE-B63B-53D8E43DF01C}" presName="Name21" presStyleCnt="0"/>
      <dgm:spPr/>
    </dgm:pt>
    <dgm:pt modelId="{5CEA02F6-6E4C-47D7-AE53-9D496D0D1A3D}" type="pres">
      <dgm:prSet presAssocID="{7B4A3783-ABA4-4BCE-B63B-53D8E43DF01C}" presName="level2Shape" presStyleLbl="node3" presStyleIdx="1" presStyleCnt="4"/>
      <dgm:spPr/>
      <dgm:t>
        <a:bodyPr/>
        <a:lstStyle/>
        <a:p>
          <a:endParaRPr lang="en-GB"/>
        </a:p>
      </dgm:t>
    </dgm:pt>
    <dgm:pt modelId="{E06E38BF-7F26-47A8-9745-047EA6B171C7}" type="pres">
      <dgm:prSet presAssocID="{7B4A3783-ABA4-4BCE-B63B-53D8E43DF01C}" presName="hierChild3" presStyleCnt="0"/>
      <dgm:spPr/>
    </dgm:pt>
    <dgm:pt modelId="{A0540E16-FED4-421A-B323-308DA2729327}" type="pres">
      <dgm:prSet presAssocID="{31FCE2A7-13E8-457A-8A11-F26C808B746B}" presName="Name19" presStyleLbl="parChTrans1D4" presStyleIdx="1" presStyleCnt="4"/>
      <dgm:spPr/>
      <dgm:t>
        <a:bodyPr/>
        <a:lstStyle/>
        <a:p>
          <a:endParaRPr lang="en-GB"/>
        </a:p>
      </dgm:t>
    </dgm:pt>
    <dgm:pt modelId="{B5FB8191-9167-4A6F-9285-40ECDB5FB6CA}" type="pres">
      <dgm:prSet presAssocID="{4598A3B3-3901-4828-9374-036AFA1FEE7F}" presName="Name21" presStyleCnt="0"/>
      <dgm:spPr/>
    </dgm:pt>
    <dgm:pt modelId="{22B14F6D-8617-49B8-8BA6-479706863532}" type="pres">
      <dgm:prSet presAssocID="{4598A3B3-3901-4828-9374-036AFA1FEE7F}" presName="level2Shape" presStyleLbl="node4" presStyleIdx="1" presStyleCnt="4" custLinFactNeighborX="-54" custLinFactNeighborY="-6099"/>
      <dgm:spPr/>
      <dgm:t>
        <a:bodyPr/>
        <a:lstStyle/>
        <a:p>
          <a:endParaRPr lang="en-GB"/>
        </a:p>
      </dgm:t>
    </dgm:pt>
    <dgm:pt modelId="{735040D2-52E9-4D4B-8A61-3784299714D7}" type="pres">
      <dgm:prSet presAssocID="{4598A3B3-3901-4828-9374-036AFA1FEE7F}" presName="hierChild3" presStyleCnt="0"/>
      <dgm:spPr/>
    </dgm:pt>
    <dgm:pt modelId="{E043E564-3957-43F0-B8C0-6B1B470DD2B9}" type="pres">
      <dgm:prSet presAssocID="{13880C4C-DC77-42DB-B27A-8CA0EBECDB36}" presName="Name19" presStyleLbl="parChTrans1D3" presStyleIdx="2" presStyleCnt="4"/>
      <dgm:spPr/>
      <dgm:t>
        <a:bodyPr/>
        <a:lstStyle/>
        <a:p>
          <a:endParaRPr lang="en-GB"/>
        </a:p>
      </dgm:t>
    </dgm:pt>
    <dgm:pt modelId="{9FD7B1B6-E391-4086-AC48-E9CECD1AEA1F}" type="pres">
      <dgm:prSet presAssocID="{BAD0FAE7-F439-48FE-8D56-48A564937B10}" presName="Name21" presStyleCnt="0"/>
      <dgm:spPr/>
    </dgm:pt>
    <dgm:pt modelId="{862827D9-C3DD-4DE0-A79A-E8B96C207F19}" type="pres">
      <dgm:prSet presAssocID="{BAD0FAE7-F439-48FE-8D56-48A564937B10}" presName="level2Shape" presStyleLbl="node3" presStyleIdx="2" presStyleCnt="4" custLinFactNeighborX="9320" custLinFactNeighborY="-1"/>
      <dgm:spPr/>
      <dgm:t>
        <a:bodyPr/>
        <a:lstStyle/>
        <a:p>
          <a:endParaRPr lang="en-GB"/>
        </a:p>
      </dgm:t>
    </dgm:pt>
    <dgm:pt modelId="{EF482B81-4862-415B-91AA-9DCF00C924D6}" type="pres">
      <dgm:prSet presAssocID="{BAD0FAE7-F439-48FE-8D56-48A564937B10}" presName="hierChild3" presStyleCnt="0"/>
      <dgm:spPr/>
    </dgm:pt>
    <dgm:pt modelId="{5CE182AC-0210-48C5-9C8E-6FE975553AD4}" type="pres">
      <dgm:prSet presAssocID="{3CF917B7-4094-4917-A36C-1E60DC2D2B66}" presName="Name19" presStyleLbl="parChTrans1D3" presStyleIdx="3" presStyleCnt="4"/>
      <dgm:spPr/>
      <dgm:t>
        <a:bodyPr/>
        <a:lstStyle/>
        <a:p>
          <a:endParaRPr lang="en-GB"/>
        </a:p>
      </dgm:t>
    </dgm:pt>
    <dgm:pt modelId="{7AE6D8EC-A579-4941-BD7D-AC337B010EA4}" type="pres">
      <dgm:prSet presAssocID="{348DE7FB-1C22-41AA-A12C-80BA3FCB5ABA}" presName="Name21" presStyleCnt="0"/>
      <dgm:spPr/>
    </dgm:pt>
    <dgm:pt modelId="{4C1D1463-36DA-4760-8DEB-126908982614}" type="pres">
      <dgm:prSet presAssocID="{348DE7FB-1C22-41AA-A12C-80BA3FCB5ABA}" presName="level2Shape" presStyleLbl="node3" presStyleIdx="3" presStyleCnt="4"/>
      <dgm:spPr/>
      <dgm:t>
        <a:bodyPr/>
        <a:lstStyle/>
        <a:p>
          <a:endParaRPr lang="en-GB"/>
        </a:p>
      </dgm:t>
    </dgm:pt>
    <dgm:pt modelId="{C1923115-B850-4CED-B419-A899406ACF97}" type="pres">
      <dgm:prSet presAssocID="{348DE7FB-1C22-41AA-A12C-80BA3FCB5ABA}" presName="hierChild3" presStyleCnt="0"/>
      <dgm:spPr/>
    </dgm:pt>
    <dgm:pt modelId="{1ECA76A4-3769-45B6-9FC9-2F65D7A33A80}" type="pres">
      <dgm:prSet presAssocID="{2E378717-0A05-4F46-B6C9-734786EC54B4}" presName="Name19" presStyleLbl="parChTrans1D4" presStyleIdx="2" presStyleCnt="4"/>
      <dgm:spPr/>
      <dgm:t>
        <a:bodyPr/>
        <a:lstStyle/>
        <a:p>
          <a:endParaRPr lang="en-GB"/>
        </a:p>
      </dgm:t>
    </dgm:pt>
    <dgm:pt modelId="{50F1EFEC-9C1A-4741-8905-491BEA4C6378}" type="pres">
      <dgm:prSet presAssocID="{58B5E815-58A2-434E-981F-5BD8E0B73075}" presName="Name21" presStyleCnt="0"/>
      <dgm:spPr/>
    </dgm:pt>
    <dgm:pt modelId="{F0490445-FAA9-4DAE-9916-17C19E5B6967}" type="pres">
      <dgm:prSet presAssocID="{58B5E815-58A2-434E-981F-5BD8E0B73075}" presName="level2Shape" presStyleLbl="node4" presStyleIdx="2" presStyleCnt="4" custLinFactNeighborX="64349" custLinFactNeighborY="-1576"/>
      <dgm:spPr/>
      <dgm:t>
        <a:bodyPr/>
        <a:lstStyle/>
        <a:p>
          <a:endParaRPr lang="en-GB"/>
        </a:p>
      </dgm:t>
    </dgm:pt>
    <dgm:pt modelId="{8F6C218C-BEA0-41D4-9018-A814E2FE0C18}" type="pres">
      <dgm:prSet presAssocID="{58B5E815-58A2-434E-981F-5BD8E0B73075}" presName="hierChild3" presStyleCnt="0"/>
      <dgm:spPr/>
    </dgm:pt>
    <dgm:pt modelId="{1C2DEEE1-D32B-4856-AABA-718129D8D787}" type="pres">
      <dgm:prSet presAssocID="{DC2DF1FD-2AC3-44F7-926C-E0DE510EDE67}" presName="Name19" presStyleLbl="parChTrans1D4" presStyleIdx="3" presStyleCnt="4"/>
      <dgm:spPr/>
      <dgm:t>
        <a:bodyPr/>
        <a:lstStyle/>
        <a:p>
          <a:endParaRPr lang="en-GB"/>
        </a:p>
      </dgm:t>
    </dgm:pt>
    <dgm:pt modelId="{39C6A64C-2835-41AF-A62C-09420C3930D3}" type="pres">
      <dgm:prSet presAssocID="{34BCF48E-3B12-4B53-B38E-7546C8C0223D}" presName="Name21" presStyleCnt="0"/>
      <dgm:spPr/>
    </dgm:pt>
    <dgm:pt modelId="{10418786-886F-4630-B966-1315BFC79BBB}" type="pres">
      <dgm:prSet presAssocID="{34BCF48E-3B12-4B53-B38E-7546C8C0223D}" presName="level2Shape" presStyleLbl="node4" presStyleIdx="3" presStyleCnt="4" custLinFactNeighborX="67650"/>
      <dgm:spPr/>
      <dgm:t>
        <a:bodyPr/>
        <a:lstStyle/>
        <a:p>
          <a:endParaRPr lang="en-GB"/>
        </a:p>
      </dgm:t>
    </dgm:pt>
    <dgm:pt modelId="{DC93BBB2-0882-4C29-84DB-F18888F85BC8}" type="pres">
      <dgm:prSet presAssocID="{34BCF48E-3B12-4B53-B38E-7546C8C0223D}" presName="hierChild3" presStyleCnt="0"/>
      <dgm:spPr/>
    </dgm:pt>
    <dgm:pt modelId="{785E11EE-5A08-41F1-BB0F-024A0F91D569}" type="pres">
      <dgm:prSet presAssocID="{1D931AE9-B218-413B-9CE4-4FEFF5FCD25E}" presName="Name19" presStyleLbl="parChTrans1D2" presStyleIdx="2" presStyleCnt="3"/>
      <dgm:spPr/>
      <dgm:t>
        <a:bodyPr/>
        <a:lstStyle/>
        <a:p>
          <a:endParaRPr lang="en-GB"/>
        </a:p>
      </dgm:t>
    </dgm:pt>
    <dgm:pt modelId="{B479CA27-A218-4C40-8912-6464AACF6AE9}" type="pres">
      <dgm:prSet presAssocID="{B6FE41D9-2071-4A18-B0AA-BB6277BDD8DC}" presName="Name21" presStyleCnt="0"/>
      <dgm:spPr/>
    </dgm:pt>
    <dgm:pt modelId="{58ED0F4A-ACB6-4D52-B857-1E2275A94F7D}" type="pres">
      <dgm:prSet presAssocID="{B6FE41D9-2071-4A18-B0AA-BB6277BDD8DC}" presName="level2Shape" presStyleLbl="node2" presStyleIdx="2" presStyleCnt="3"/>
      <dgm:spPr/>
      <dgm:t>
        <a:bodyPr/>
        <a:lstStyle/>
        <a:p>
          <a:endParaRPr lang="en-GB"/>
        </a:p>
      </dgm:t>
    </dgm:pt>
    <dgm:pt modelId="{23541813-CF2D-4E5A-B3CF-3D2CD02AB065}" type="pres">
      <dgm:prSet presAssocID="{B6FE41D9-2071-4A18-B0AA-BB6277BDD8DC}" presName="hierChild3" presStyleCnt="0"/>
      <dgm:spPr/>
    </dgm:pt>
    <dgm:pt modelId="{F65C0906-FE99-40D9-89C5-1F44C517E50C}" type="pres">
      <dgm:prSet presAssocID="{27E2980F-552B-4A1A-B9B6-FA6C23A3AF4C}" presName="bgShapesFlow" presStyleCnt="0"/>
      <dgm:spPr/>
    </dgm:pt>
  </dgm:ptLst>
  <dgm:cxnLst>
    <dgm:cxn modelId="{3EB07BB7-1FBB-4E30-997A-47ED4DEFBC7C}" srcId="{27E2980F-552B-4A1A-B9B6-FA6C23A3AF4C}" destId="{27782684-790B-4760-9B0A-9D107594E2AC}" srcOrd="0" destOrd="0" parTransId="{FEC727C1-9ACB-4E82-A3DB-82A69E0A01EF}" sibTransId="{413E1536-1C2E-436D-9C02-5C85F1016F37}"/>
    <dgm:cxn modelId="{2ACE711E-4DE4-417D-87B3-F89B75900D22}" type="presOf" srcId="{58B5E815-58A2-434E-981F-5BD8E0B73075}" destId="{F0490445-FAA9-4DAE-9916-17C19E5B6967}" srcOrd="0" destOrd="0" presId="urn:microsoft.com/office/officeart/2005/8/layout/hierarchy6"/>
    <dgm:cxn modelId="{27B50284-40DC-4F3D-9B4E-CF3F50CFCBB0}" type="presOf" srcId="{12AC806E-ED55-4D77-8EDB-566FC2DFCB98}" destId="{380322F4-57BE-4816-807F-E12D5241257A}" srcOrd="0" destOrd="0" presId="urn:microsoft.com/office/officeart/2005/8/layout/hierarchy6"/>
    <dgm:cxn modelId="{9F7022CE-89C1-46AB-A741-6E5B4E23906E}" srcId="{27782684-790B-4760-9B0A-9D107594E2AC}" destId="{B6FE41D9-2071-4A18-B0AA-BB6277BDD8DC}" srcOrd="2" destOrd="0" parTransId="{1D931AE9-B218-413B-9CE4-4FEFF5FCD25E}" sibTransId="{C064E780-1C17-4A71-B86F-1D74C2DFD8FB}"/>
    <dgm:cxn modelId="{BC3957CE-4079-4D25-8E61-2A0C9BF1E4FA}" type="presOf" srcId="{7B4A3783-ABA4-4BCE-B63B-53D8E43DF01C}" destId="{5CEA02F6-6E4C-47D7-AE53-9D496D0D1A3D}" srcOrd="0" destOrd="0" presId="urn:microsoft.com/office/officeart/2005/8/layout/hierarchy6"/>
    <dgm:cxn modelId="{1F5CD71B-BE63-4306-B99B-E90ED8B7FF59}" type="presOf" srcId="{61918A8B-928F-481D-A99A-797914E4D440}" destId="{24BCD09D-BB5A-493B-B4D3-FAED6B060446}" srcOrd="0" destOrd="0" presId="urn:microsoft.com/office/officeart/2005/8/layout/hierarchy6"/>
    <dgm:cxn modelId="{0E67E1D9-A402-4F29-9F32-04E2FC3A06BC}" type="presOf" srcId="{2E378717-0A05-4F46-B6C9-734786EC54B4}" destId="{1ECA76A4-3769-45B6-9FC9-2F65D7A33A80}" srcOrd="0" destOrd="0" presId="urn:microsoft.com/office/officeart/2005/8/layout/hierarchy6"/>
    <dgm:cxn modelId="{3132E26B-A4C5-4941-9CEF-79B190D72EDA}" type="presOf" srcId="{BAD0FAE7-F439-48FE-8D56-48A564937B10}" destId="{862827D9-C3DD-4DE0-A79A-E8B96C207F19}" srcOrd="0" destOrd="0" presId="urn:microsoft.com/office/officeart/2005/8/layout/hierarchy6"/>
    <dgm:cxn modelId="{1CF0DEC9-93F8-445D-BEE1-D0607E7835D2}" type="presOf" srcId="{27E2980F-552B-4A1A-B9B6-FA6C23A3AF4C}" destId="{ED1A0A91-3915-412D-AA76-2610BDBCC4A9}" srcOrd="0" destOrd="0" presId="urn:microsoft.com/office/officeart/2005/8/layout/hierarchy6"/>
    <dgm:cxn modelId="{53A85788-B69B-488C-8669-CD112C726E46}" srcId="{348DE7FB-1C22-41AA-A12C-80BA3FCB5ABA}" destId="{58B5E815-58A2-434E-981F-5BD8E0B73075}" srcOrd="0" destOrd="0" parTransId="{2E378717-0A05-4F46-B6C9-734786EC54B4}" sibTransId="{4AEFE9CA-35D0-48B7-91DC-547103D21C10}"/>
    <dgm:cxn modelId="{608AE2D4-7B6D-4181-9994-09831FE4E38A}" type="presOf" srcId="{1D931AE9-B218-413B-9CE4-4FEFF5FCD25E}" destId="{785E11EE-5A08-41F1-BB0F-024A0F91D569}" srcOrd="0" destOrd="0" presId="urn:microsoft.com/office/officeart/2005/8/layout/hierarchy6"/>
    <dgm:cxn modelId="{6100A327-CE6F-466B-8190-EEB364839A33}" type="presOf" srcId="{31FCE2A7-13E8-457A-8A11-F26C808B746B}" destId="{A0540E16-FED4-421A-B323-308DA2729327}" srcOrd="0" destOrd="0" presId="urn:microsoft.com/office/officeart/2005/8/layout/hierarchy6"/>
    <dgm:cxn modelId="{4AE3B3F0-423D-45D6-9F59-363DAD0B9250}" type="presOf" srcId="{34BCF48E-3B12-4B53-B38E-7546C8C0223D}" destId="{10418786-886F-4630-B966-1315BFC79BBB}" srcOrd="0" destOrd="0" presId="urn:microsoft.com/office/officeart/2005/8/layout/hierarchy6"/>
    <dgm:cxn modelId="{39D5E6E4-8EAC-46EF-860B-A5E23E8941F0}" type="presOf" srcId="{745F9827-BD5B-4BFD-B04A-2B09C1201DCF}" destId="{31BB0742-3710-46C3-9530-D11D16964A7B}" srcOrd="0" destOrd="0" presId="urn:microsoft.com/office/officeart/2005/8/layout/hierarchy6"/>
    <dgm:cxn modelId="{D52EFB64-0D59-4118-843A-40752DA27BBD}" type="presOf" srcId="{6681B1E6-440B-4DE0-B81F-0E5A0E98B8A3}" destId="{5A5E28F9-3D69-436E-9A92-AA6BA7D31450}" srcOrd="0" destOrd="0" presId="urn:microsoft.com/office/officeart/2005/8/layout/hierarchy6"/>
    <dgm:cxn modelId="{99655E38-473A-4D20-AD0C-7EFE8744446F}" type="presOf" srcId="{B6FE41D9-2071-4A18-B0AA-BB6277BDD8DC}" destId="{58ED0F4A-ACB6-4D52-B857-1E2275A94F7D}" srcOrd="0" destOrd="0" presId="urn:microsoft.com/office/officeart/2005/8/layout/hierarchy6"/>
    <dgm:cxn modelId="{D13FFD3B-E2C5-4B46-ACA4-FD4118BCCCEA}" srcId="{557CE354-969C-498D-86A0-8683AADBA258}" destId="{745F9827-BD5B-4BFD-B04A-2B09C1201DCF}" srcOrd="0" destOrd="0" parTransId="{12AC806E-ED55-4D77-8EDB-566FC2DFCB98}" sibTransId="{023FE213-271C-47D8-8E16-60B9F075FF7E}"/>
    <dgm:cxn modelId="{8A9F98C2-E0E1-4ACF-A784-620FED42F280}" srcId="{27782684-790B-4760-9B0A-9D107594E2AC}" destId="{F62CF2BB-A131-4A46-A38D-4EE427A3C154}" srcOrd="0" destOrd="0" parTransId="{9CAFCFD9-41DC-4BCA-A2DB-4FE12B7EB1C1}" sibTransId="{93E429C4-5275-4A16-BC45-1CE0551C9DFF}"/>
    <dgm:cxn modelId="{EB993BFB-D439-4234-ACD3-3039F81618AE}" srcId="{557CE354-969C-498D-86A0-8683AADBA258}" destId="{7B4A3783-ABA4-4BCE-B63B-53D8E43DF01C}" srcOrd="1" destOrd="0" parTransId="{CA8A42EA-C7A9-44D0-9E37-CA59CA8789A6}" sibTransId="{816A5819-A8C6-4C77-9DBC-55222BB4CD90}"/>
    <dgm:cxn modelId="{419C1EF0-006D-4A7F-B885-04D2AE3018DF}" type="presOf" srcId="{3CF917B7-4094-4917-A36C-1E60DC2D2B66}" destId="{5CE182AC-0210-48C5-9C8E-6FE975553AD4}" srcOrd="0" destOrd="0" presId="urn:microsoft.com/office/officeart/2005/8/layout/hierarchy6"/>
    <dgm:cxn modelId="{F87EF945-5661-4689-A913-9D82E7E2F591}" srcId="{348DE7FB-1C22-41AA-A12C-80BA3FCB5ABA}" destId="{34BCF48E-3B12-4B53-B38E-7546C8C0223D}" srcOrd="1" destOrd="0" parTransId="{DC2DF1FD-2AC3-44F7-926C-E0DE510EDE67}" sibTransId="{95DD8AE3-77A3-48FF-B615-842323F07751}"/>
    <dgm:cxn modelId="{DEA1E4A9-08E9-420C-A465-02DDD1B26F96}" srcId="{27782684-790B-4760-9B0A-9D107594E2AC}" destId="{557CE354-969C-498D-86A0-8683AADBA258}" srcOrd="1" destOrd="0" parTransId="{311A8585-A2AB-4AC2-8487-1A4864E3A5CA}" sibTransId="{643AD364-E195-49CC-BA95-15EB1B2F665A}"/>
    <dgm:cxn modelId="{3529D9B8-928E-4D8C-AC9C-E8C86F1278FC}" srcId="{557CE354-969C-498D-86A0-8683AADBA258}" destId="{348DE7FB-1C22-41AA-A12C-80BA3FCB5ABA}" srcOrd="3" destOrd="0" parTransId="{3CF917B7-4094-4917-A36C-1E60DC2D2B66}" sibTransId="{DC2F7B06-B713-491F-8F69-0410958B0C17}"/>
    <dgm:cxn modelId="{13049817-2293-4339-BE2F-FE2B0B480530}" type="presOf" srcId="{311A8585-A2AB-4AC2-8487-1A4864E3A5CA}" destId="{848E9E0F-C9B3-4EED-8F8C-99C51DB9EA4E}" srcOrd="0" destOrd="0" presId="urn:microsoft.com/office/officeart/2005/8/layout/hierarchy6"/>
    <dgm:cxn modelId="{CEF3A006-F5F3-4619-85DC-6CBD6CF786EC}" type="presOf" srcId="{F62CF2BB-A131-4A46-A38D-4EE427A3C154}" destId="{1CC7C8D6-8083-4C5B-8849-4524C3E7309C}" srcOrd="0" destOrd="0" presId="urn:microsoft.com/office/officeart/2005/8/layout/hierarchy6"/>
    <dgm:cxn modelId="{6FA422D5-88D7-4DFA-9B82-3D44C16A54D4}" type="presOf" srcId="{27782684-790B-4760-9B0A-9D107594E2AC}" destId="{EB556181-2A91-461C-9FE9-2023DFCFF01D}" srcOrd="0" destOrd="0" presId="urn:microsoft.com/office/officeart/2005/8/layout/hierarchy6"/>
    <dgm:cxn modelId="{FA744887-8590-4995-9895-7D0C3B5D6E3F}" type="presOf" srcId="{CA8A42EA-C7A9-44D0-9E37-CA59CA8789A6}" destId="{96D513FE-8BF4-4854-BAE2-47D418A0EA24}" srcOrd="0" destOrd="0" presId="urn:microsoft.com/office/officeart/2005/8/layout/hierarchy6"/>
    <dgm:cxn modelId="{CB803872-A070-46F1-950D-5CB480DD35A6}" srcId="{7B4A3783-ABA4-4BCE-B63B-53D8E43DF01C}" destId="{4598A3B3-3901-4828-9374-036AFA1FEE7F}" srcOrd="0" destOrd="0" parTransId="{31FCE2A7-13E8-457A-8A11-F26C808B746B}" sibTransId="{0A640B1D-9034-4A79-9A67-75B3977B0C11}"/>
    <dgm:cxn modelId="{8FB68588-C176-426E-BC36-55F46291191E}" srcId="{745F9827-BD5B-4BFD-B04A-2B09C1201DCF}" destId="{61918A8B-928F-481D-A99A-797914E4D440}" srcOrd="0" destOrd="0" parTransId="{6681B1E6-440B-4DE0-B81F-0E5A0E98B8A3}" sibTransId="{02A7FB55-AF78-413B-BBB6-EEF21A54CCF7}"/>
    <dgm:cxn modelId="{B83AEC92-63C2-4109-AC35-3707A9BD607C}" type="presOf" srcId="{9CAFCFD9-41DC-4BCA-A2DB-4FE12B7EB1C1}" destId="{A1CEFBCF-63D4-4002-BA6C-5041D5A27720}" srcOrd="0" destOrd="0" presId="urn:microsoft.com/office/officeart/2005/8/layout/hierarchy6"/>
    <dgm:cxn modelId="{D4FBDA79-D877-4442-960F-C53488554553}" srcId="{557CE354-969C-498D-86A0-8683AADBA258}" destId="{BAD0FAE7-F439-48FE-8D56-48A564937B10}" srcOrd="2" destOrd="0" parTransId="{13880C4C-DC77-42DB-B27A-8CA0EBECDB36}" sibTransId="{BD5758B2-8261-490C-8137-109917B3C8FD}"/>
    <dgm:cxn modelId="{7D2D31FC-BA4F-41A1-8A53-74DC26E39068}" type="presOf" srcId="{557CE354-969C-498D-86A0-8683AADBA258}" destId="{EDA5A753-27DD-421F-BC45-07333D70FAE9}" srcOrd="0" destOrd="0" presId="urn:microsoft.com/office/officeart/2005/8/layout/hierarchy6"/>
    <dgm:cxn modelId="{A3DF851C-4878-4E52-996B-C6FFE675882A}" type="presOf" srcId="{DC2DF1FD-2AC3-44F7-926C-E0DE510EDE67}" destId="{1C2DEEE1-D32B-4856-AABA-718129D8D787}" srcOrd="0" destOrd="0" presId="urn:microsoft.com/office/officeart/2005/8/layout/hierarchy6"/>
    <dgm:cxn modelId="{5B9B53A8-D5C6-4C73-887D-7AA205C7104E}" type="presOf" srcId="{13880C4C-DC77-42DB-B27A-8CA0EBECDB36}" destId="{E043E564-3957-43F0-B8C0-6B1B470DD2B9}" srcOrd="0" destOrd="0" presId="urn:microsoft.com/office/officeart/2005/8/layout/hierarchy6"/>
    <dgm:cxn modelId="{96FEACF3-C9E5-403D-B199-6CDD2D38B135}" type="presOf" srcId="{348DE7FB-1C22-41AA-A12C-80BA3FCB5ABA}" destId="{4C1D1463-36DA-4760-8DEB-126908982614}" srcOrd="0" destOrd="0" presId="urn:microsoft.com/office/officeart/2005/8/layout/hierarchy6"/>
    <dgm:cxn modelId="{8838FEDF-96B8-4D5D-A0AD-76B8BFF5CE0C}" type="presOf" srcId="{4598A3B3-3901-4828-9374-036AFA1FEE7F}" destId="{22B14F6D-8617-49B8-8BA6-479706863532}" srcOrd="0" destOrd="0" presId="urn:microsoft.com/office/officeart/2005/8/layout/hierarchy6"/>
    <dgm:cxn modelId="{0DA4FE06-636D-4BBC-A9BF-AAD7726B0A03}" type="presParOf" srcId="{ED1A0A91-3915-412D-AA76-2610BDBCC4A9}" destId="{9919A597-6EB8-443B-9666-B773DA58BD40}" srcOrd="0" destOrd="0" presId="urn:microsoft.com/office/officeart/2005/8/layout/hierarchy6"/>
    <dgm:cxn modelId="{E4475820-C3F2-4981-8A00-D850000F736A}" type="presParOf" srcId="{9919A597-6EB8-443B-9666-B773DA58BD40}" destId="{87A97B68-CDA3-49B9-B5D1-BD3B9565FF9C}" srcOrd="0" destOrd="0" presId="urn:microsoft.com/office/officeart/2005/8/layout/hierarchy6"/>
    <dgm:cxn modelId="{DEF7439B-066F-4AE4-A2C5-0C9E3BE16EB2}" type="presParOf" srcId="{87A97B68-CDA3-49B9-B5D1-BD3B9565FF9C}" destId="{A1F3A9A8-5A97-438B-8E24-D06BE2B80E73}" srcOrd="0" destOrd="0" presId="urn:microsoft.com/office/officeart/2005/8/layout/hierarchy6"/>
    <dgm:cxn modelId="{43B558A4-232D-4347-86B3-C494B1259627}" type="presParOf" srcId="{A1F3A9A8-5A97-438B-8E24-D06BE2B80E73}" destId="{EB556181-2A91-461C-9FE9-2023DFCFF01D}" srcOrd="0" destOrd="0" presId="urn:microsoft.com/office/officeart/2005/8/layout/hierarchy6"/>
    <dgm:cxn modelId="{2F39AF35-4FB3-4A41-AAB3-D774D5CB1291}" type="presParOf" srcId="{A1F3A9A8-5A97-438B-8E24-D06BE2B80E73}" destId="{5758F0C4-D11F-46E3-A44A-E8F8BBF704BF}" srcOrd="1" destOrd="0" presId="urn:microsoft.com/office/officeart/2005/8/layout/hierarchy6"/>
    <dgm:cxn modelId="{7B5DBA5B-975F-4AFA-A6F9-C06BC8EB1287}" type="presParOf" srcId="{5758F0C4-D11F-46E3-A44A-E8F8BBF704BF}" destId="{A1CEFBCF-63D4-4002-BA6C-5041D5A27720}" srcOrd="0" destOrd="0" presId="urn:microsoft.com/office/officeart/2005/8/layout/hierarchy6"/>
    <dgm:cxn modelId="{5EFC7BB6-34ED-4443-9FE6-0C4144B0978C}" type="presParOf" srcId="{5758F0C4-D11F-46E3-A44A-E8F8BBF704BF}" destId="{45BE5800-E0B3-4162-BBD3-8AD55ABC0ADF}" srcOrd="1" destOrd="0" presId="urn:microsoft.com/office/officeart/2005/8/layout/hierarchy6"/>
    <dgm:cxn modelId="{143A7FD2-4657-49C0-8DD7-CB3C967DF3E8}" type="presParOf" srcId="{45BE5800-E0B3-4162-BBD3-8AD55ABC0ADF}" destId="{1CC7C8D6-8083-4C5B-8849-4524C3E7309C}" srcOrd="0" destOrd="0" presId="urn:microsoft.com/office/officeart/2005/8/layout/hierarchy6"/>
    <dgm:cxn modelId="{8FB41216-CB3F-4310-BDDB-3C33BFE9B581}" type="presParOf" srcId="{45BE5800-E0B3-4162-BBD3-8AD55ABC0ADF}" destId="{2CE72C24-2240-46E7-B517-F46BDED6E586}" srcOrd="1" destOrd="0" presId="urn:microsoft.com/office/officeart/2005/8/layout/hierarchy6"/>
    <dgm:cxn modelId="{34A828A5-87C4-41F8-A832-2E2970F1E6B8}" type="presParOf" srcId="{5758F0C4-D11F-46E3-A44A-E8F8BBF704BF}" destId="{848E9E0F-C9B3-4EED-8F8C-99C51DB9EA4E}" srcOrd="2" destOrd="0" presId="urn:microsoft.com/office/officeart/2005/8/layout/hierarchy6"/>
    <dgm:cxn modelId="{BFECDE1C-BBC9-4559-ABED-6098367A9A91}" type="presParOf" srcId="{5758F0C4-D11F-46E3-A44A-E8F8BBF704BF}" destId="{E4FF675F-3802-493F-B028-623C11D0EC05}" srcOrd="3" destOrd="0" presId="urn:microsoft.com/office/officeart/2005/8/layout/hierarchy6"/>
    <dgm:cxn modelId="{15C14BB0-2917-4AB7-9534-6FED541152C5}" type="presParOf" srcId="{E4FF675F-3802-493F-B028-623C11D0EC05}" destId="{EDA5A753-27DD-421F-BC45-07333D70FAE9}" srcOrd="0" destOrd="0" presId="urn:microsoft.com/office/officeart/2005/8/layout/hierarchy6"/>
    <dgm:cxn modelId="{017FE082-0C06-4AE2-8061-08B10A942558}" type="presParOf" srcId="{E4FF675F-3802-493F-B028-623C11D0EC05}" destId="{C0D2D671-91CA-4B17-B99F-6540DB2FDF83}" srcOrd="1" destOrd="0" presId="urn:microsoft.com/office/officeart/2005/8/layout/hierarchy6"/>
    <dgm:cxn modelId="{562FC2C4-9619-4E82-989C-33D9F72EAA49}" type="presParOf" srcId="{C0D2D671-91CA-4B17-B99F-6540DB2FDF83}" destId="{380322F4-57BE-4816-807F-E12D5241257A}" srcOrd="0" destOrd="0" presId="urn:microsoft.com/office/officeart/2005/8/layout/hierarchy6"/>
    <dgm:cxn modelId="{F12F02E7-FD86-416F-9DE6-60710EA3E14B}" type="presParOf" srcId="{C0D2D671-91CA-4B17-B99F-6540DB2FDF83}" destId="{5419D13B-D457-49C3-9097-4B5C614644EF}" srcOrd="1" destOrd="0" presId="urn:microsoft.com/office/officeart/2005/8/layout/hierarchy6"/>
    <dgm:cxn modelId="{CC232DA1-FBF1-40D3-84D9-A3F89E85ED8D}" type="presParOf" srcId="{5419D13B-D457-49C3-9097-4B5C614644EF}" destId="{31BB0742-3710-46C3-9530-D11D16964A7B}" srcOrd="0" destOrd="0" presId="urn:microsoft.com/office/officeart/2005/8/layout/hierarchy6"/>
    <dgm:cxn modelId="{D1766EF3-F49A-4896-ACBA-0A1788DF2BE5}" type="presParOf" srcId="{5419D13B-D457-49C3-9097-4B5C614644EF}" destId="{BC892C50-D5AC-408A-8B04-DB81A7716D81}" srcOrd="1" destOrd="0" presId="urn:microsoft.com/office/officeart/2005/8/layout/hierarchy6"/>
    <dgm:cxn modelId="{3393298C-3F23-4CC7-A2F4-07DFDA04A1E1}" type="presParOf" srcId="{BC892C50-D5AC-408A-8B04-DB81A7716D81}" destId="{5A5E28F9-3D69-436E-9A92-AA6BA7D31450}" srcOrd="0" destOrd="0" presId="urn:microsoft.com/office/officeart/2005/8/layout/hierarchy6"/>
    <dgm:cxn modelId="{E571B3B9-8D05-401F-BC5F-95E76B7CC69E}" type="presParOf" srcId="{BC892C50-D5AC-408A-8B04-DB81A7716D81}" destId="{49190E9D-94EF-4FD2-801B-2E8C0D1566F9}" srcOrd="1" destOrd="0" presId="urn:microsoft.com/office/officeart/2005/8/layout/hierarchy6"/>
    <dgm:cxn modelId="{8200C2F1-F0E8-4B90-89D3-F0C63E803527}" type="presParOf" srcId="{49190E9D-94EF-4FD2-801B-2E8C0D1566F9}" destId="{24BCD09D-BB5A-493B-B4D3-FAED6B060446}" srcOrd="0" destOrd="0" presId="urn:microsoft.com/office/officeart/2005/8/layout/hierarchy6"/>
    <dgm:cxn modelId="{50896BD8-1F38-4304-AFC1-29E049621349}" type="presParOf" srcId="{49190E9D-94EF-4FD2-801B-2E8C0D1566F9}" destId="{022E8673-BB36-4A45-91AC-36D2B4312879}" srcOrd="1" destOrd="0" presId="urn:microsoft.com/office/officeart/2005/8/layout/hierarchy6"/>
    <dgm:cxn modelId="{D9B65D50-86FF-476E-B82F-67E211F2B7FD}" type="presParOf" srcId="{C0D2D671-91CA-4B17-B99F-6540DB2FDF83}" destId="{96D513FE-8BF4-4854-BAE2-47D418A0EA24}" srcOrd="2" destOrd="0" presId="urn:microsoft.com/office/officeart/2005/8/layout/hierarchy6"/>
    <dgm:cxn modelId="{B69C904F-2227-49EE-87A8-62E638C17657}" type="presParOf" srcId="{C0D2D671-91CA-4B17-B99F-6540DB2FDF83}" destId="{77DCEE91-BB91-4414-BE19-9AD9DB906ED0}" srcOrd="3" destOrd="0" presId="urn:microsoft.com/office/officeart/2005/8/layout/hierarchy6"/>
    <dgm:cxn modelId="{08CC38B0-2C8B-4B2B-AE6A-6ADA15B2C7C8}" type="presParOf" srcId="{77DCEE91-BB91-4414-BE19-9AD9DB906ED0}" destId="{5CEA02F6-6E4C-47D7-AE53-9D496D0D1A3D}" srcOrd="0" destOrd="0" presId="urn:microsoft.com/office/officeart/2005/8/layout/hierarchy6"/>
    <dgm:cxn modelId="{0CDBFCB8-994E-4328-B095-2A71D86C9139}" type="presParOf" srcId="{77DCEE91-BB91-4414-BE19-9AD9DB906ED0}" destId="{E06E38BF-7F26-47A8-9745-047EA6B171C7}" srcOrd="1" destOrd="0" presId="urn:microsoft.com/office/officeart/2005/8/layout/hierarchy6"/>
    <dgm:cxn modelId="{99A452FD-6980-46BD-B9CA-45C7DF3F5ED4}" type="presParOf" srcId="{E06E38BF-7F26-47A8-9745-047EA6B171C7}" destId="{A0540E16-FED4-421A-B323-308DA2729327}" srcOrd="0" destOrd="0" presId="urn:microsoft.com/office/officeart/2005/8/layout/hierarchy6"/>
    <dgm:cxn modelId="{F171CAE2-5527-417E-AED0-3ABAC329ACDD}" type="presParOf" srcId="{E06E38BF-7F26-47A8-9745-047EA6B171C7}" destId="{B5FB8191-9167-4A6F-9285-40ECDB5FB6CA}" srcOrd="1" destOrd="0" presId="urn:microsoft.com/office/officeart/2005/8/layout/hierarchy6"/>
    <dgm:cxn modelId="{BFF495DC-590F-4200-A499-36A7B51F2A95}" type="presParOf" srcId="{B5FB8191-9167-4A6F-9285-40ECDB5FB6CA}" destId="{22B14F6D-8617-49B8-8BA6-479706863532}" srcOrd="0" destOrd="0" presId="urn:microsoft.com/office/officeart/2005/8/layout/hierarchy6"/>
    <dgm:cxn modelId="{5773343B-C420-4D9F-B00C-E3606CE60CDB}" type="presParOf" srcId="{B5FB8191-9167-4A6F-9285-40ECDB5FB6CA}" destId="{735040D2-52E9-4D4B-8A61-3784299714D7}" srcOrd="1" destOrd="0" presId="urn:microsoft.com/office/officeart/2005/8/layout/hierarchy6"/>
    <dgm:cxn modelId="{F9FCA63E-1EC4-4310-AD8E-D9AE47A73496}" type="presParOf" srcId="{C0D2D671-91CA-4B17-B99F-6540DB2FDF83}" destId="{E043E564-3957-43F0-B8C0-6B1B470DD2B9}" srcOrd="4" destOrd="0" presId="urn:microsoft.com/office/officeart/2005/8/layout/hierarchy6"/>
    <dgm:cxn modelId="{E8B750D4-F29F-4C89-ACCF-4FB05DAAFAAA}" type="presParOf" srcId="{C0D2D671-91CA-4B17-B99F-6540DB2FDF83}" destId="{9FD7B1B6-E391-4086-AC48-E9CECD1AEA1F}" srcOrd="5" destOrd="0" presId="urn:microsoft.com/office/officeart/2005/8/layout/hierarchy6"/>
    <dgm:cxn modelId="{E043C336-C700-4432-BB87-6CDFD397D339}" type="presParOf" srcId="{9FD7B1B6-E391-4086-AC48-E9CECD1AEA1F}" destId="{862827D9-C3DD-4DE0-A79A-E8B96C207F19}" srcOrd="0" destOrd="0" presId="urn:microsoft.com/office/officeart/2005/8/layout/hierarchy6"/>
    <dgm:cxn modelId="{9DC59069-6EEE-428D-9DC9-CDEB074BAB08}" type="presParOf" srcId="{9FD7B1B6-E391-4086-AC48-E9CECD1AEA1F}" destId="{EF482B81-4862-415B-91AA-9DCF00C924D6}" srcOrd="1" destOrd="0" presId="urn:microsoft.com/office/officeart/2005/8/layout/hierarchy6"/>
    <dgm:cxn modelId="{A317DE0E-7DD7-4801-9EDD-D85D839DB033}" type="presParOf" srcId="{C0D2D671-91CA-4B17-B99F-6540DB2FDF83}" destId="{5CE182AC-0210-48C5-9C8E-6FE975553AD4}" srcOrd="6" destOrd="0" presId="urn:microsoft.com/office/officeart/2005/8/layout/hierarchy6"/>
    <dgm:cxn modelId="{D5C5710E-9795-45BA-8969-407D09A6DF32}" type="presParOf" srcId="{C0D2D671-91CA-4B17-B99F-6540DB2FDF83}" destId="{7AE6D8EC-A579-4941-BD7D-AC337B010EA4}" srcOrd="7" destOrd="0" presId="urn:microsoft.com/office/officeart/2005/8/layout/hierarchy6"/>
    <dgm:cxn modelId="{CBEEA86A-B16F-4023-886A-BEB0673941A5}" type="presParOf" srcId="{7AE6D8EC-A579-4941-BD7D-AC337B010EA4}" destId="{4C1D1463-36DA-4760-8DEB-126908982614}" srcOrd="0" destOrd="0" presId="urn:microsoft.com/office/officeart/2005/8/layout/hierarchy6"/>
    <dgm:cxn modelId="{369BF2EA-EB43-4AC5-B992-C9260C68D12B}" type="presParOf" srcId="{7AE6D8EC-A579-4941-BD7D-AC337B010EA4}" destId="{C1923115-B850-4CED-B419-A899406ACF97}" srcOrd="1" destOrd="0" presId="urn:microsoft.com/office/officeart/2005/8/layout/hierarchy6"/>
    <dgm:cxn modelId="{DAE2EBB6-699D-4F34-A019-0905BAE0D07A}" type="presParOf" srcId="{C1923115-B850-4CED-B419-A899406ACF97}" destId="{1ECA76A4-3769-45B6-9FC9-2F65D7A33A80}" srcOrd="0" destOrd="0" presId="urn:microsoft.com/office/officeart/2005/8/layout/hierarchy6"/>
    <dgm:cxn modelId="{124196A1-7EA6-4D96-97AE-B6BA89955AA0}" type="presParOf" srcId="{C1923115-B850-4CED-B419-A899406ACF97}" destId="{50F1EFEC-9C1A-4741-8905-491BEA4C6378}" srcOrd="1" destOrd="0" presId="urn:microsoft.com/office/officeart/2005/8/layout/hierarchy6"/>
    <dgm:cxn modelId="{BBF5C24A-4920-418A-95B6-E3263AAE56EC}" type="presParOf" srcId="{50F1EFEC-9C1A-4741-8905-491BEA4C6378}" destId="{F0490445-FAA9-4DAE-9916-17C19E5B6967}" srcOrd="0" destOrd="0" presId="urn:microsoft.com/office/officeart/2005/8/layout/hierarchy6"/>
    <dgm:cxn modelId="{A46A4FE5-DD0A-4AF1-BA11-6B5E4F301D61}" type="presParOf" srcId="{50F1EFEC-9C1A-4741-8905-491BEA4C6378}" destId="{8F6C218C-BEA0-41D4-9018-A814E2FE0C18}" srcOrd="1" destOrd="0" presId="urn:microsoft.com/office/officeart/2005/8/layout/hierarchy6"/>
    <dgm:cxn modelId="{22834348-BBD9-4A9B-B30C-8170CC73329C}" type="presParOf" srcId="{C1923115-B850-4CED-B419-A899406ACF97}" destId="{1C2DEEE1-D32B-4856-AABA-718129D8D787}" srcOrd="2" destOrd="0" presId="urn:microsoft.com/office/officeart/2005/8/layout/hierarchy6"/>
    <dgm:cxn modelId="{B4A6ECAA-A77F-415C-B1F7-C5A21BCC4F3B}" type="presParOf" srcId="{C1923115-B850-4CED-B419-A899406ACF97}" destId="{39C6A64C-2835-41AF-A62C-09420C3930D3}" srcOrd="3" destOrd="0" presId="urn:microsoft.com/office/officeart/2005/8/layout/hierarchy6"/>
    <dgm:cxn modelId="{EB80ED73-C36C-4960-A8AE-F71BD617AAD7}" type="presParOf" srcId="{39C6A64C-2835-41AF-A62C-09420C3930D3}" destId="{10418786-886F-4630-B966-1315BFC79BBB}" srcOrd="0" destOrd="0" presId="urn:microsoft.com/office/officeart/2005/8/layout/hierarchy6"/>
    <dgm:cxn modelId="{F7EF8827-CB79-41B0-B529-9C739E3B9B1A}" type="presParOf" srcId="{39C6A64C-2835-41AF-A62C-09420C3930D3}" destId="{DC93BBB2-0882-4C29-84DB-F18888F85BC8}" srcOrd="1" destOrd="0" presId="urn:microsoft.com/office/officeart/2005/8/layout/hierarchy6"/>
    <dgm:cxn modelId="{7CCCC96B-CF05-4B4B-8FAC-ECBD190E1D95}" type="presParOf" srcId="{5758F0C4-D11F-46E3-A44A-E8F8BBF704BF}" destId="{785E11EE-5A08-41F1-BB0F-024A0F91D569}" srcOrd="4" destOrd="0" presId="urn:microsoft.com/office/officeart/2005/8/layout/hierarchy6"/>
    <dgm:cxn modelId="{5CBBFF00-D202-47D4-A84A-B71CA605EC47}" type="presParOf" srcId="{5758F0C4-D11F-46E3-A44A-E8F8BBF704BF}" destId="{B479CA27-A218-4C40-8912-6464AACF6AE9}" srcOrd="5" destOrd="0" presId="urn:microsoft.com/office/officeart/2005/8/layout/hierarchy6"/>
    <dgm:cxn modelId="{A439FD73-2E10-4717-A296-39BDC9F0780B}" type="presParOf" srcId="{B479CA27-A218-4C40-8912-6464AACF6AE9}" destId="{58ED0F4A-ACB6-4D52-B857-1E2275A94F7D}" srcOrd="0" destOrd="0" presId="urn:microsoft.com/office/officeart/2005/8/layout/hierarchy6"/>
    <dgm:cxn modelId="{ADA2808F-DA1D-4B37-82ED-2B8E02263F7C}" type="presParOf" srcId="{B479CA27-A218-4C40-8912-6464AACF6AE9}" destId="{23541813-CF2D-4E5A-B3CF-3D2CD02AB065}" srcOrd="1" destOrd="0" presId="urn:microsoft.com/office/officeart/2005/8/layout/hierarchy6"/>
    <dgm:cxn modelId="{BFDB4DC9-8D40-4B83-BB5F-59DF0047AD8D}" type="presParOf" srcId="{ED1A0A91-3915-412D-AA76-2610BDBCC4A9}" destId="{F65C0906-FE99-40D9-89C5-1F44C517E50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16C87E-637E-4259-9EF1-866A0AB02C82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EB346E6-20E4-45E6-964C-E70FB68E1512}">
      <dgm:prSet phldrT="[Text]" custT="1"/>
      <dgm:spPr/>
      <dgm:t>
        <a:bodyPr/>
        <a:lstStyle/>
        <a:p>
          <a:pPr rtl="0"/>
          <a:r>
            <a:rPr kumimoji="0" lang="en-US" sz="2000" b="1" i="0" u="none" strike="noStrike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rPr>
            <a:t>Development  Phase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D46AEABF-CC55-43DD-A47F-C632EC6657BA}" type="parTrans" cxnId="{478C2475-EEF7-4671-AE5E-5A1C6928083E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04CBED8C-9BF1-46DF-AFB9-AE6003A47A7A}" type="sibTrans" cxnId="{478C2475-EEF7-4671-AE5E-5A1C6928083E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09B00C21-4C19-4A6E-B2EF-1B5DCCE011DC}">
      <dgm:prSet phldrT="[Text]" custT="1"/>
      <dgm:spPr/>
      <dgm:t>
        <a:bodyPr/>
        <a:lstStyle/>
        <a:p>
          <a:r>
            <a:rPr lang="en-US" sz="1800" dirty="0" smtClean="0">
              <a:latin typeface="Arial" pitchFamily="34" charset="0"/>
              <a:cs typeface="Arial" pitchFamily="34" charset="0"/>
            </a:rPr>
            <a:t>GOES-sounder, </a:t>
          </a:r>
          <a:r>
            <a:rPr lang="en-US" sz="1800" dirty="0" smtClean="0">
              <a:latin typeface="Arial" pitchFamily="34" charset="0"/>
              <a:cs typeface="Arial" pitchFamily="34" charset="0"/>
            </a:rPr>
            <a:t>FY2E-2H, FY-4A</a:t>
          </a:r>
          <a:endParaRPr lang="en-US" sz="1800" dirty="0">
            <a:latin typeface="Arial" pitchFamily="34" charset="0"/>
            <a:cs typeface="Arial" pitchFamily="34" charset="0"/>
          </a:endParaRPr>
        </a:p>
      </dgm:t>
    </dgm:pt>
    <dgm:pt modelId="{EC637210-FD64-4B3E-9DF1-1D7FF4B37B02}" type="parTrans" cxnId="{695E73E2-8397-4813-9A4F-BCFFF0353089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1C4519D7-2375-4D2A-9C8A-44CD72B72AF9}" type="sibTrans" cxnId="{695E73E2-8397-4813-9A4F-BCFFF0353089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1330000E-F7D5-4484-B753-A18DA5F47988}">
      <dgm:prSet phldrT="[Text]" custT="1"/>
      <dgm:spPr/>
      <dgm:t>
        <a:bodyPr/>
        <a:lstStyle/>
        <a:p>
          <a:pPr latinLnBrk="1"/>
          <a:r>
            <a:rPr lang="fr-CH" sz="1800" dirty="0" smtClean="0">
              <a:latin typeface="Arial" pitchFamily="34" charset="0"/>
              <a:cs typeface="Arial" pitchFamily="34" charset="0"/>
            </a:rPr>
            <a:t>EUM (MET-7), JMA(Himawari-8), KMA(COMS), ISRO(INSAT-3D)</a:t>
          </a:r>
          <a:endParaRPr lang="en-US" sz="1800" dirty="0">
            <a:latin typeface="Arial" pitchFamily="34" charset="0"/>
            <a:cs typeface="Arial" pitchFamily="34" charset="0"/>
          </a:endParaRPr>
        </a:p>
      </dgm:t>
    </dgm:pt>
    <dgm:pt modelId="{85E480B6-2515-41C4-863D-8851A4A314DF}" type="parTrans" cxnId="{9399C00A-61FB-4B27-B110-107FA44BEAD0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20B9E17B-CEBF-4F0C-8DD2-ABB22E5CF97B}" type="sibTrans" cxnId="{9399C00A-61FB-4B27-B110-107FA44BEAD0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2AEE6ECF-677C-4B95-9A14-7117951261DF}">
      <dgm:prSet phldrT="[Text]" custT="1"/>
      <dgm:spPr/>
      <dgm:t>
        <a:bodyPr/>
        <a:lstStyle/>
        <a:p>
          <a:r>
            <a:rPr lang="fr-CH" sz="2000" b="1" dirty="0" err="1" smtClean="0">
              <a:latin typeface="Arial" pitchFamily="34" charset="0"/>
              <a:cs typeface="Arial" pitchFamily="34" charset="0"/>
            </a:rPr>
            <a:t>Pre-operational</a:t>
          </a:r>
          <a:r>
            <a:rPr lang="fr-CH" sz="2000" b="1" dirty="0" smtClean="0">
              <a:latin typeface="Arial" pitchFamily="34" charset="0"/>
              <a:cs typeface="Arial" pitchFamily="34" charset="0"/>
            </a:rPr>
            <a:t> Phase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C2A62379-6AAF-4CA0-8E7E-05ADE317885B}" type="parTrans" cxnId="{340F075D-3213-42A6-93DD-FFEABC35A0F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CFC1D007-29B7-47DD-9254-6175514B556D}" type="sibTrans" cxnId="{340F075D-3213-42A6-93DD-FFEABC35A0FB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F8FD4226-303C-4C17-B4A7-718BED33794F}">
      <dgm:prSet phldrT="[Text]" custT="1"/>
      <dgm:spPr/>
      <dgm:t>
        <a:bodyPr/>
        <a:lstStyle/>
        <a:p>
          <a:r>
            <a:rPr lang="en-US" sz="1800" dirty="0" smtClean="0">
              <a:latin typeface="Arial" pitchFamily="34" charset="0"/>
              <a:cs typeface="Arial" pitchFamily="34" charset="0"/>
            </a:rPr>
            <a:t>GOES-13, 15 (NRT&amp;RAC). GOES-11, 12 (NRT)</a:t>
          </a:r>
          <a:endParaRPr lang="en-US" sz="1800" dirty="0">
            <a:latin typeface="Arial" pitchFamily="34" charset="0"/>
            <a:cs typeface="Arial" pitchFamily="34" charset="0"/>
          </a:endParaRPr>
        </a:p>
      </dgm:t>
    </dgm:pt>
    <dgm:pt modelId="{BDE62567-819C-4FCD-8F86-497C99953A47}" type="parTrans" cxnId="{B323D3FF-63D2-4B09-B868-444012ADA461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87DB5CD4-89A2-4C62-8FEA-91E0C8469F20}" type="sibTrans" cxnId="{B323D3FF-63D2-4B09-B868-444012ADA461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C9596D7C-38B8-498D-BBDE-4DF598257880}">
      <dgm:prSet phldrT="[Text]" custT="1"/>
      <dgm:spPr/>
      <dgm:t>
        <a:bodyPr/>
        <a:lstStyle/>
        <a:p>
          <a:r>
            <a:rPr lang="fr-CH" sz="2000" b="1" dirty="0" err="1" smtClean="0">
              <a:latin typeface="Arial" pitchFamily="34" charset="0"/>
              <a:cs typeface="Arial" pitchFamily="34" charset="0"/>
            </a:rPr>
            <a:t>Operational</a:t>
          </a:r>
          <a:r>
            <a:rPr lang="fr-CH" sz="2000" b="1" dirty="0" smtClean="0">
              <a:latin typeface="Arial" pitchFamily="34" charset="0"/>
              <a:cs typeface="Arial" pitchFamily="34" charset="0"/>
            </a:rPr>
            <a:t> Phase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6EBF6692-E1E8-4665-B616-503F7222A028}" type="parTrans" cxnId="{994C5E32-C895-4AF5-9200-C9AF1183BB5C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3731D9A2-5A30-4BAD-A884-C7514817E9B4}" type="sibTrans" cxnId="{994C5E32-C895-4AF5-9200-C9AF1183BB5C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5EF7E920-B9F6-4D73-915C-2606BB19C710}">
      <dgm:prSet phldrT="[Text]" custT="1"/>
      <dgm:spPr/>
      <dgm:t>
        <a:bodyPr/>
        <a:lstStyle/>
        <a:p>
          <a:r>
            <a:rPr lang="fr-CH" sz="1800" dirty="0" smtClean="0">
              <a:latin typeface="Arial" pitchFamily="34" charset="0"/>
              <a:cs typeface="Arial" pitchFamily="34" charset="0"/>
            </a:rPr>
            <a:t>EUMETSAT(Meteosat 8-11/IASI)</a:t>
          </a:r>
          <a:endParaRPr lang="en-US" sz="1800" dirty="0">
            <a:latin typeface="Arial" pitchFamily="34" charset="0"/>
            <a:cs typeface="Arial" pitchFamily="34" charset="0"/>
          </a:endParaRPr>
        </a:p>
      </dgm:t>
    </dgm:pt>
    <dgm:pt modelId="{24044B67-89FF-4079-BB97-7D10915E1518}" type="parTrans" cxnId="{68DD2809-2C95-4230-83E5-9A81F51C3D27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6E543F39-6875-4368-94E0-16B25776A49B}" type="sibTrans" cxnId="{68DD2809-2C95-4230-83E5-9A81F51C3D27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046A0EF2-C1CF-44D2-93E1-205906B4FD85}">
      <dgm:prSet phldrT="[Text]" custT="1"/>
      <dgm:spPr/>
      <dgm:t>
        <a:bodyPr/>
        <a:lstStyle/>
        <a:p>
          <a:pPr rtl="0"/>
          <a:r>
            <a:rPr kumimoji="0" lang="en-US" sz="2000" b="1" i="0" u="none" strike="noStrike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rPr>
            <a:t>Demonstration Phase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5FB286B4-F8AF-4D57-8465-FF355E88C10E}" type="sibTrans" cxnId="{07126672-CEC0-465F-963D-1716CD56C7B0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C94374DA-F6FD-4143-89D2-87DDC739E020}" type="parTrans" cxnId="{07126672-CEC0-465F-963D-1716CD56C7B0}">
      <dgm:prSet/>
      <dgm:spPr/>
      <dgm:t>
        <a:bodyPr/>
        <a:lstStyle/>
        <a:p>
          <a:endParaRPr lang="en-US">
            <a:latin typeface="Arial" pitchFamily="34" charset="0"/>
            <a:cs typeface="Arial" pitchFamily="34" charset="0"/>
          </a:endParaRPr>
        </a:p>
      </dgm:t>
    </dgm:pt>
    <dgm:pt modelId="{7D47C2B2-C983-4F72-9631-5D1D7B10D6BC}" type="pres">
      <dgm:prSet presAssocID="{4416C87E-637E-4259-9EF1-866A0AB02C8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80C6573B-5F0E-4653-A6EA-E7B9679D3BDA}" type="pres">
      <dgm:prSet presAssocID="{C9596D7C-38B8-498D-BBDE-4DF598257880}" presName="boxAndChildren" presStyleCnt="0"/>
      <dgm:spPr/>
    </dgm:pt>
    <dgm:pt modelId="{D1C838FC-C99C-49BF-8B8A-FB81C3A2A5F3}" type="pres">
      <dgm:prSet presAssocID="{C9596D7C-38B8-498D-BBDE-4DF598257880}" presName="parentTextBox" presStyleLbl="node1" presStyleIdx="0" presStyleCnt="4" custScaleY="57199"/>
      <dgm:spPr/>
      <dgm:t>
        <a:bodyPr/>
        <a:lstStyle/>
        <a:p>
          <a:endParaRPr lang="en-US"/>
        </a:p>
      </dgm:t>
    </dgm:pt>
    <dgm:pt modelId="{159E0334-C3A6-4EA3-85F5-BC1B3A0D66A6}" type="pres">
      <dgm:prSet presAssocID="{C9596D7C-38B8-498D-BBDE-4DF598257880}" presName="entireBox" presStyleLbl="node1" presStyleIdx="0" presStyleCnt="4"/>
      <dgm:spPr/>
      <dgm:t>
        <a:bodyPr/>
        <a:lstStyle/>
        <a:p>
          <a:endParaRPr lang="en-US"/>
        </a:p>
      </dgm:t>
    </dgm:pt>
    <dgm:pt modelId="{BFCD1A99-0A18-4A7A-877D-02E9DFCD1A28}" type="pres">
      <dgm:prSet presAssocID="{C9596D7C-38B8-498D-BBDE-4DF598257880}" presName="descendantBox" presStyleCnt="0"/>
      <dgm:spPr/>
    </dgm:pt>
    <dgm:pt modelId="{413D48C9-AB97-4757-A6C4-1823C3363725}" type="pres">
      <dgm:prSet presAssocID="{5EF7E920-B9F6-4D73-915C-2606BB19C710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1F92AF-E36E-4728-970D-5BCD836AC97A}" type="pres">
      <dgm:prSet presAssocID="{CFC1D007-29B7-47DD-9254-6175514B556D}" presName="sp" presStyleCnt="0"/>
      <dgm:spPr/>
    </dgm:pt>
    <dgm:pt modelId="{E8BC1668-321E-4BA2-ABD8-B485E9D77EB9}" type="pres">
      <dgm:prSet presAssocID="{2AEE6ECF-677C-4B95-9A14-7117951261DF}" presName="arrowAndChildren" presStyleCnt="0"/>
      <dgm:spPr/>
    </dgm:pt>
    <dgm:pt modelId="{75B78626-8A05-44FC-B712-22BB4034AA60}" type="pres">
      <dgm:prSet presAssocID="{2AEE6ECF-677C-4B95-9A14-7117951261DF}" presName="parentTextArrow" presStyleLbl="node1" presStyleIdx="0" presStyleCnt="4"/>
      <dgm:spPr/>
      <dgm:t>
        <a:bodyPr/>
        <a:lstStyle/>
        <a:p>
          <a:endParaRPr lang="en-GB"/>
        </a:p>
      </dgm:t>
    </dgm:pt>
    <dgm:pt modelId="{BBE3F89B-4B89-41EB-9442-D741ED8ED2C6}" type="pres">
      <dgm:prSet presAssocID="{2AEE6ECF-677C-4B95-9A14-7117951261DF}" presName="arrow" presStyleLbl="node1" presStyleIdx="1" presStyleCnt="4"/>
      <dgm:spPr/>
      <dgm:t>
        <a:bodyPr/>
        <a:lstStyle/>
        <a:p>
          <a:endParaRPr lang="en-GB"/>
        </a:p>
      </dgm:t>
    </dgm:pt>
    <dgm:pt modelId="{3592B574-FB12-45BD-9C2B-CE11CE7D6805}" type="pres">
      <dgm:prSet presAssocID="{2AEE6ECF-677C-4B95-9A14-7117951261DF}" presName="descendantArrow" presStyleCnt="0"/>
      <dgm:spPr/>
    </dgm:pt>
    <dgm:pt modelId="{7B51F674-0477-4ECA-95B3-C106670ACA4B}" type="pres">
      <dgm:prSet presAssocID="{F8FD4226-303C-4C17-B4A7-718BED33794F}" presName="childTextArrow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07065C8-76D0-4D4C-99BD-3EE7A75FF50D}" type="pres">
      <dgm:prSet presAssocID="{5FB286B4-F8AF-4D57-8465-FF355E88C10E}" presName="sp" presStyleCnt="0"/>
      <dgm:spPr/>
    </dgm:pt>
    <dgm:pt modelId="{380CC9F1-47ED-4F50-889C-392FAD0BAE89}" type="pres">
      <dgm:prSet presAssocID="{046A0EF2-C1CF-44D2-93E1-205906B4FD85}" presName="arrowAndChildren" presStyleCnt="0"/>
      <dgm:spPr/>
    </dgm:pt>
    <dgm:pt modelId="{CD59430F-C58D-4436-8D38-4BD11EAE954F}" type="pres">
      <dgm:prSet presAssocID="{046A0EF2-C1CF-44D2-93E1-205906B4FD85}" presName="parentTextArrow" presStyleLbl="node1" presStyleIdx="1" presStyleCnt="4"/>
      <dgm:spPr/>
      <dgm:t>
        <a:bodyPr/>
        <a:lstStyle/>
        <a:p>
          <a:endParaRPr lang="en-US"/>
        </a:p>
      </dgm:t>
    </dgm:pt>
    <dgm:pt modelId="{BF3A6AD0-67FD-409A-BBB2-07077DF0A58F}" type="pres">
      <dgm:prSet presAssocID="{046A0EF2-C1CF-44D2-93E1-205906B4FD85}" presName="arrow" presStyleLbl="node1" presStyleIdx="2" presStyleCnt="4" custLinFactNeighborX="926" custLinFactNeighborY="203"/>
      <dgm:spPr/>
      <dgm:t>
        <a:bodyPr/>
        <a:lstStyle/>
        <a:p>
          <a:endParaRPr lang="en-US"/>
        </a:p>
      </dgm:t>
    </dgm:pt>
    <dgm:pt modelId="{036270B7-B4AA-4585-8C02-CE2B41C59C74}" type="pres">
      <dgm:prSet presAssocID="{046A0EF2-C1CF-44D2-93E1-205906B4FD85}" presName="descendantArrow" presStyleCnt="0"/>
      <dgm:spPr/>
    </dgm:pt>
    <dgm:pt modelId="{00C69F31-A8FB-40EA-9F38-8F153DDD7747}" type="pres">
      <dgm:prSet presAssocID="{1330000E-F7D5-4484-B753-A18DA5F47988}" presName="childTextArrow" presStyleLbl="fgAccFollowNode1" presStyleIdx="2" presStyleCnt="4" custLinFactNeighborX="-147" custLinFactNeighborY="5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6639DF-4222-4B46-9859-ABAD39A87E5F}" type="pres">
      <dgm:prSet presAssocID="{04CBED8C-9BF1-46DF-AFB9-AE6003A47A7A}" presName="sp" presStyleCnt="0"/>
      <dgm:spPr/>
    </dgm:pt>
    <dgm:pt modelId="{964249F2-6222-4ACD-BD14-EB628692D8B6}" type="pres">
      <dgm:prSet presAssocID="{8EB346E6-20E4-45E6-964C-E70FB68E1512}" presName="arrowAndChildren" presStyleCnt="0"/>
      <dgm:spPr/>
    </dgm:pt>
    <dgm:pt modelId="{035D381D-9D62-4F3C-805E-F34B75155B1E}" type="pres">
      <dgm:prSet presAssocID="{8EB346E6-20E4-45E6-964C-E70FB68E1512}" presName="parentTextArrow" presStyleLbl="node1" presStyleIdx="2" presStyleCnt="4"/>
      <dgm:spPr/>
      <dgm:t>
        <a:bodyPr/>
        <a:lstStyle/>
        <a:p>
          <a:endParaRPr lang="en-US"/>
        </a:p>
      </dgm:t>
    </dgm:pt>
    <dgm:pt modelId="{FAF8D13E-5C90-4075-88FA-6AB7E83BC103}" type="pres">
      <dgm:prSet presAssocID="{8EB346E6-20E4-45E6-964C-E70FB68E1512}" presName="arrow" presStyleLbl="node1" presStyleIdx="3" presStyleCnt="4" custLinFactNeighborY="-123"/>
      <dgm:spPr/>
      <dgm:t>
        <a:bodyPr/>
        <a:lstStyle/>
        <a:p>
          <a:endParaRPr lang="en-US"/>
        </a:p>
      </dgm:t>
    </dgm:pt>
    <dgm:pt modelId="{B85F4006-B242-43B7-B94C-3A16B5571B7F}" type="pres">
      <dgm:prSet presAssocID="{8EB346E6-20E4-45E6-964C-E70FB68E1512}" presName="descendantArrow" presStyleCnt="0"/>
      <dgm:spPr/>
    </dgm:pt>
    <dgm:pt modelId="{FC3187CB-6E81-45FF-AA1C-F9C498752C7A}" type="pres">
      <dgm:prSet presAssocID="{09B00C21-4C19-4A6E-B2EF-1B5DCCE011DC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FF5CE65-1743-494E-8793-2C84E9601D67}" type="presOf" srcId="{09B00C21-4C19-4A6E-B2EF-1B5DCCE011DC}" destId="{FC3187CB-6E81-45FF-AA1C-F9C498752C7A}" srcOrd="0" destOrd="0" presId="urn:microsoft.com/office/officeart/2005/8/layout/process4"/>
    <dgm:cxn modelId="{B323D3FF-63D2-4B09-B868-444012ADA461}" srcId="{2AEE6ECF-677C-4B95-9A14-7117951261DF}" destId="{F8FD4226-303C-4C17-B4A7-718BED33794F}" srcOrd="0" destOrd="0" parTransId="{BDE62567-819C-4FCD-8F86-497C99953A47}" sibTransId="{87DB5CD4-89A2-4C62-8FEA-91E0C8469F20}"/>
    <dgm:cxn modelId="{9DF3072C-8DD5-4939-BB11-5F48196D1A40}" type="presOf" srcId="{C9596D7C-38B8-498D-BBDE-4DF598257880}" destId="{159E0334-C3A6-4EA3-85F5-BC1B3A0D66A6}" srcOrd="1" destOrd="0" presId="urn:microsoft.com/office/officeart/2005/8/layout/process4"/>
    <dgm:cxn modelId="{695E73E2-8397-4813-9A4F-BCFFF0353089}" srcId="{8EB346E6-20E4-45E6-964C-E70FB68E1512}" destId="{09B00C21-4C19-4A6E-B2EF-1B5DCCE011DC}" srcOrd="0" destOrd="0" parTransId="{EC637210-FD64-4B3E-9DF1-1D7FF4B37B02}" sibTransId="{1C4519D7-2375-4D2A-9C8A-44CD72B72AF9}"/>
    <dgm:cxn modelId="{EBF7A9CD-F3DB-43B6-812A-B26F8018AF76}" type="presOf" srcId="{F8FD4226-303C-4C17-B4A7-718BED33794F}" destId="{7B51F674-0477-4ECA-95B3-C106670ACA4B}" srcOrd="0" destOrd="0" presId="urn:microsoft.com/office/officeart/2005/8/layout/process4"/>
    <dgm:cxn modelId="{9399C00A-61FB-4B27-B110-107FA44BEAD0}" srcId="{046A0EF2-C1CF-44D2-93E1-205906B4FD85}" destId="{1330000E-F7D5-4484-B753-A18DA5F47988}" srcOrd="0" destOrd="0" parTransId="{85E480B6-2515-41C4-863D-8851A4A314DF}" sibTransId="{20B9E17B-CEBF-4F0C-8DD2-ABB22E5CF97B}"/>
    <dgm:cxn modelId="{8F876682-9FD9-4002-A8AA-1ECA6FAE34F5}" type="presOf" srcId="{4416C87E-637E-4259-9EF1-866A0AB02C82}" destId="{7D47C2B2-C983-4F72-9631-5D1D7B10D6BC}" srcOrd="0" destOrd="0" presId="urn:microsoft.com/office/officeart/2005/8/layout/process4"/>
    <dgm:cxn modelId="{07126672-CEC0-465F-963D-1716CD56C7B0}" srcId="{4416C87E-637E-4259-9EF1-866A0AB02C82}" destId="{046A0EF2-C1CF-44D2-93E1-205906B4FD85}" srcOrd="1" destOrd="0" parTransId="{C94374DA-F6FD-4143-89D2-87DDC739E020}" sibTransId="{5FB286B4-F8AF-4D57-8465-FF355E88C10E}"/>
    <dgm:cxn modelId="{DFF2D1DA-281D-4936-A25B-9F3D6B414100}" type="presOf" srcId="{2AEE6ECF-677C-4B95-9A14-7117951261DF}" destId="{BBE3F89B-4B89-41EB-9442-D741ED8ED2C6}" srcOrd="1" destOrd="0" presId="urn:microsoft.com/office/officeart/2005/8/layout/process4"/>
    <dgm:cxn modelId="{994C5E32-C895-4AF5-9200-C9AF1183BB5C}" srcId="{4416C87E-637E-4259-9EF1-866A0AB02C82}" destId="{C9596D7C-38B8-498D-BBDE-4DF598257880}" srcOrd="3" destOrd="0" parTransId="{6EBF6692-E1E8-4665-B616-503F7222A028}" sibTransId="{3731D9A2-5A30-4BAD-A884-C7514817E9B4}"/>
    <dgm:cxn modelId="{950D1DE3-0003-47FC-8836-BCEBBDF0EE09}" type="presOf" srcId="{5EF7E920-B9F6-4D73-915C-2606BB19C710}" destId="{413D48C9-AB97-4757-A6C4-1823C3363725}" srcOrd="0" destOrd="0" presId="urn:microsoft.com/office/officeart/2005/8/layout/process4"/>
    <dgm:cxn modelId="{92E3406B-6135-419B-BDFC-597E757E30FC}" type="presOf" srcId="{046A0EF2-C1CF-44D2-93E1-205906B4FD85}" destId="{CD59430F-C58D-4436-8D38-4BD11EAE954F}" srcOrd="0" destOrd="0" presId="urn:microsoft.com/office/officeart/2005/8/layout/process4"/>
    <dgm:cxn modelId="{68DD2809-2C95-4230-83E5-9A81F51C3D27}" srcId="{C9596D7C-38B8-498D-BBDE-4DF598257880}" destId="{5EF7E920-B9F6-4D73-915C-2606BB19C710}" srcOrd="0" destOrd="0" parTransId="{24044B67-89FF-4079-BB97-7D10915E1518}" sibTransId="{6E543F39-6875-4368-94E0-16B25776A49B}"/>
    <dgm:cxn modelId="{340F075D-3213-42A6-93DD-FFEABC35A0FB}" srcId="{4416C87E-637E-4259-9EF1-866A0AB02C82}" destId="{2AEE6ECF-677C-4B95-9A14-7117951261DF}" srcOrd="2" destOrd="0" parTransId="{C2A62379-6AAF-4CA0-8E7E-05ADE317885B}" sibTransId="{CFC1D007-29B7-47DD-9254-6175514B556D}"/>
    <dgm:cxn modelId="{FF4962CE-46C5-4E59-A7DF-2EDD855EFB7C}" type="presOf" srcId="{8EB346E6-20E4-45E6-964C-E70FB68E1512}" destId="{FAF8D13E-5C90-4075-88FA-6AB7E83BC103}" srcOrd="1" destOrd="0" presId="urn:microsoft.com/office/officeart/2005/8/layout/process4"/>
    <dgm:cxn modelId="{1B5484D5-823E-46BA-98B9-0F488AD1B43D}" type="presOf" srcId="{C9596D7C-38B8-498D-BBDE-4DF598257880}" destId="{D1C838FC-C99C-49BF-8B8A-FB81C3A2A5F3}" srcOrd="0" destOrd="0" presId="urn:microsoft.com/office/officeart/2005/8/layout/process4"/>
    <dgm:cxn modelId="{1B62979A-CA8E-425D-853C-BE17542D6507}" type="presOf" srcId="{8EB346E6-20E4-45E6-964C-E70FB68E1512}" destId="{035D381D-9D62-4F3C-805E-F34B75155B1E}" srcOrd="0" destOrd="0" presId="urn:microsoft.com/office/officeart/2005/8/layout/process4"/>
    <dgm:cxn modelId="{478C2475-EEF7-4671-AE5E-5A1C6928083E}" srcId="{4416C87E-637E-4259-9EF1-866A0AB02C82}" destId="{8EB346E6-20E4-45E6-964C-E70FB68E1512}" srcOrd="0" destOrd="0" parTransId="{D46AEABF-CC55-43DD-A47F-C632EC6657BA}" sibTransId="{04CBED8C-9BF1-46DF-AFB9-AE6003A47A7A}"/>
    <dgm:cxn modelId="{CE16BCFD-88B2-442F-A209-75A169103049}" type="presOf" srcId="{2AEE6ECF-677C-4B95-9A14-7117951261DF}" destId="{75B78626-8A05-44FC-B712-22BB4034AA60}" srcOrd="0" destOrd="0" presId="urn:microsoft.com/office/officeart/2005/8/layout/process4"/>
    <dgm:cxn modelId="{21B0E6E5-594F-4CFD-9B5B-4A4E87656B14}" type="presOf" srcId="{046A0EF2-C1CF-44D2-93E1-205906B4FD85}" destId="{BF3A6AD0-67FD-409A-BBB2-07077DF0A58F}" srcOrd="1" destOrd="0" presId="urn:microsoft.com/office/officeart/2005/8/layout/process4"/>
    <dgm:cxn modelId="{A7C065D1-780B-4CA5-861D-F9A2A18EC581}" type="presOf" srcId="{1330000E-F7D5-4484-B753-A18DA5F47988}" destId="{00C69F31-A8FB-40EA-9F38-8F153DDD7747}" srcOrd="0" destOrd="0" presId="urn:microsoft.com/office/officeart/2005/8/layout/process4"/>
    <dgm:cxn modelId="{A7E8262B-00CC-411F-A013-15DB61DD5488}" type="presParOf" srcId="{7D47C2B2-C983-4F72-9631-5D1D7B10D6BC}" destId="{80C6573B-5F0E-4653-A6EA-E7B9679D3BDA}" srcOrd="0" destOrd="0" presId="urn:microsoft.com/office/officeart/2005/8/layout/process4"/>
    <dgm:cxn modelId="{D20EF9E0-3057-4A67-894B-123E9883DBB7}" type="presParOf" srcId="{80C6573B-5F0E-4653-A6EA-E7B9679D3BDA}" destId="{D1C838FC-C99C-49BF-8B8A-FB81C3A2A5F3}" srcOrd="0" destOrd="0" presId="urn:microsoft.com/office/officeart/2005/8/layout/process4"/>
    <dgm:cxn modelId="{744E5AFB-93D0-41A7-8676-6F848AE2F126}" type="presParOf" srcId="{80C6573B-5F0E-4653-A6EA-E7B9679D3BDA}" destId="{159E0334-C3A6-4EA3-85F5-BC1B3A0D66A6}" srcOrd="1" destOrd="0" presId="urn:microsoft.com/office/officeart/2005/8/layout/process4"/>
    <dgm:cxn modelId="{7A062578-BB07-4A94-8158-72A5B5B52FE9}" type="presParOf" srcId="{80C6573B-5F0E-4653-A6EA-E7B9679D3BDA}" destId="{BFCD1A99-0A18-4A7A-877D-02E9DFCD1A28}" srcOrd="2" destOrd="0" presId="urn:microsoft.com/office/officeart/2005/8/layout/process4"/>
    <dgm:cxn modelId="{7C2E4D5A-A8AF-4ADF-96F5-A2D1B60A8EBB}" type="presParOf" srcId="{BFCD1A99-0A18-4A7A-877D-02E9DFCD1A28}" destId="{413D48C9-AB97-4757-A6C4-1823C3363725}" srcOrd="0" destOrd="0" presId="urn:microsoft.com/office/officeart/2005/8/layout/process4"/>
    <dgm:cxn modelId="{0D9FCFDC-020C-4678-BD7A-02BC189EBDD8}" type="presParOf" srcId="{7D47C2B2-C983-4F72-9631-5D1D7B10D6BC}" destId="{EE1F92AF-E36E-4728-970D-5BCD836AC97A}" srcOrd="1" destOrd="0" presId="urn:microsoft.com/office/officeart/2005/8/layout/process4"/>
    <dgm:cxn modelId="{B53526DD-1458-4166-B286-7274716AD2EE}" type="presParOf" srcId="{7D47C2B2-C983-4F72-9631-5D1D7B10D6BC}" destId="{E8BC1668-321E-4BA2-ABD8-B485E9D77EB9}" srcOrd="2" destOrd="0" presId="urn:microsoft.com/office/officeart/2005/8/layout/process4"/>
    <dgm:cxn modelId="{0934F7BE-D7A8-4D02-9FFF-F664974266BB}" type="presParOf" srcId="{E8BC1668-321E-4BA2-ABD8-B485E9D77EB9}" destId="{75B78626-8A05-44FC-B712-22BB4034AA60}" srcOrd="0" destOrd="0" presId="urn:microsoft.com/office/officeart/2005/8/layout/process4"/>
    <dgm:cxn modelId="{E3970714-BBA9-40AD-89AF-4DCB931B0E60}" type="presParOf" srcId="{E8BC1668-321E-4BA2-ABD8-B485E9D77EB9}" destId="{BBE3F89B-4B89-41EB-9442-D741ED8ED2C6}" srcOrd="1" destOrd="0" presId="urn:microsoft.com/office/officeart/2005/8/layout/process4"/>
    <dgm:cxn modelId="{9E09CD98-0D94-4FA7-BB99-5A6EE6F7D8CE}" type="presParOf" srcId="{E8BC1668-321E-4BA2-ABD8-B485E9D77EB9}" destId="{3592B574-FB12-45BD-9C2B-CE11CE7D6805}" srcOrd="2" destOrd="0" presId="urn:microsoft.com/office/officeart/2005/8/layout/process4"/>
    <dgm:cxn modelId="{A510CD90-1796-40DC-B427-6BA6FFAA8532}" type="presParOf" srcId="{3592B574-FB12-45BD-9C2B-CE11CE7D6805}" destId="{7B51F674-0477-4ECA-95B3-C106670ACA4B}" srcOrd="0" destOrd="0" presId="urn:microsoft.com/office/officeart/2005/8/layout/process4"/>
    <dgm:cxn modelId="{5CEE70DF-806A-45BA-947B-463DA00D2330}" type="presParOf" srcId="{7D47C2B2-C983-4F72-9631-5D1D7B10D6BC}" destId="{507065C8-76D0-4D4C-99BD-3EE7A75FF50D}" srcOrd="3" destOrd="0" presId="urn:microsoft.com/office/officeart/2005/8/layout/process4"/>
    <dgm:cxn modelId="{AE2312B7-4F3C-438B-9EC7-5D08264680E9}" type="presParOf" srcId="{7D47C2B2-C983-4F72-9631-5D1D7B10D6BC}" destId="{380CC9F1-47ED-4F50-889C-392FAD0BAE89}" srcOrd="4" destOrd="0" presId="urn:microsoft.com/office/officeart/2005/8/layout/process4"/>
    <dgm:cxn modelId="{B6CD1AF3-F4E8-42E1-88B9-8D60A1158CDD}" type="presParOf" srcId="{380CC9F1-47ED-4F50-889C-392FAD0BAE89}" destId="{CD59430F-C58D-4436-8D38-4BD11EAE954F}" srcOrd="0" destOrd="0" presId="urn:microsoft.com/office/officeart/2005/8/layout/process4"/>
    <dgm:cxn modelId="{1224212C-B8CC-46BC-871E-B75F51A1D8CC}" type="presParOf" srcId="{380CC9F1-47ED-4F50-889C-392FAD0BAE89}" destId="{BF3A6AD0-67FD-409A-BBB2-07077DF0A58F}" srcOrd="1" destOrd="0" presId="urn:microsoft.com/office/officeart/2005/8/layout/process4"/>
    <dgm:cxn modelId="{C10C3987-4FF9-4FA7-85C8-36704580B157}" type="presParOf" srcId="{380CC9F1-47ED-4F50-889C-392FAD0BAE89}" destId="{036270B7-B4AA-4585-8C02-CE2B41C59C74}" srcOrd="2" destOrd="0" presId="urn:microsoft.com/office/officeart/2005/8/layout/process4"/>
    <dgm:cxn modelId="{11CE83A0-367F-4577-A6A1-5DE9AB653F92}" type="presParOf" srcId="{036270B7-B4AA-4585-8C02-CE2B41C59C74}" destId="{00C69F31-A8FB-40EA-9F38-8F153DDD7747}" srcOrd="0" destOrd="0" presId="urn:microsoft.com/office/officeart/2005/8/layout/process4"/>
    <dgm:cxn modelId="{DC3F371C-4273-40B1-AD22-1AB031A25D78}" type="presParOf" srcId="{7D47C2B2-C983-4F72-9631-5D1D7B10D6BC}" destId="{116639DF-4222-4B46-9859-ABAD39A87E5F}" srcOrd="5" destOrd="0" presId="urn:microsoft.com/office/officeart/2005/8/layout/process4"/>
    <dgm:cxn modelId="{A59540F1-DB0B-4F7E-B4E2-67708E4470C3}" type="presParOf" srcId="{7D47C2B2-C983-4F72-9631-5D1D7B10D6BC}" destId="{964249F2-6222-4ACD-BD14-EB628692D8B6}" srcOrd="6" destOrd="0" presId="urn:microsoft.com/office/officeart/2005/8/layout/process4"/>
    <dgm:cxn modelId="{5AD5586B-341A-4C8A-A635-EE5B33FC9FA1}" type="presParOf" srcId="{964249F2-6222-4ACD-BD14-EB628692D8B6}" destId="{035D381D-9D62-4F3C-805E-F34B75155B1E}" srcOrd="0" destOrd="0" presId="urn:microsoft.com/office/officeart/2005/8/layout/process4"/>
    <dgm:cxn modelId="{11FB3676-200F-4BC4-AFBA-4632DDAA01CC}" type="presParOf" srcId="{964249F2-6222-4ACD-BD14-EB628692D8B6}" destId="{FAF8D13E-5C90-4075-88FA-6AB7E83BC103}" srcOrd="1" destOrd="0" presId="urn:microsoft.com/office/officeart/2005/8/layout/process4"/>
    <dgm:cxn modelId="{E5A0F276-177E-4ABD-AA81-BEE51D6F4A35}" type="presParOf" srcId="{964249F2-6222-4ACD-BD14-EB628692D8B6}" destId="{B85F4006-B242-43B7-B94C-3A16B5571B7F}" srcOrd="2" destOrd="0" presId="urn:microsoft.com/office/officeart/2005/8/layout/process4"/>
    <dgm:cxn modelId="{9EAB2A14-FFFB-45BB-9482-B384CC29ADDC}" type="presParOf" srcId="{B85F4006-B242-43B7-B94C-3A16B5571B7F}" destId="{FC3187CB-6E81-45FF-AA1C-F9C498752C7A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5BFB2E-587A-4EF4-9F45-222490CAB17A}">
      <dsp:nvSpPr>
        <dsp:cNvPr id="0" name=""/>
        <dsp:cNvSpPr/>
      </dsp:nvSpPr>
      <dsp:spPr>
        <a:xfrm>
          <a:off x="593780" y="0"/>
          <a:ext cx="4975978" cy="25908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solidFill>
            <a:schemeClr val="tx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F6EE4F-7D8A-477C-8D01-4BAF2120E682}">
      <dsp:nvSpPr>
        <dsp:cNvPr id="0" name=""/>
        <dsp:cNvSpPr/>
      </dsp:nvSpPr>
      <dsp:spPr>
        <a:xfrm>
          <a:off x="509466" y="742590"/>
          <a:ext cx="1776537" cy="11056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>Instrument</a:t>
          </a:r>
          <a:br>
            <a:rPr lang="en-US" sz="1800" kern="1200" noProof="0" dirty="0" smtClean="0">
              <a:latin typeface="Arial" pitchFamily="34" charset="0"/>
              <a:cs typeface="Arial" pitchFamily="34" charset="0"/>
            </a:rPr>
          </a:br>
          <a:r>
            <a:rPr lang="en-GB" sz="1800" kern="1200" noProof="0" dirty="0" smtClean="0">
              <a:latin typeface="Arial" pitchFamily="34" charset="0"/>
              <a:cs typeface="Arial" pitchFamily="34" charset="0"/>
            </a:rPr>
            <a:t>behaviour</a:t>
          </a: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/>
          </a:r>
          <a:br>
            <a:rPr lang="en-US" sz="1800" kern="1200" noProof="0" dirty="0" smtClean="0">
              <a:latin typeface="Arial" pitchFamily="34" charset="0"/>
              <a:cs typeface="Arial" pitchFamily="34" charset="0"/>
            </a:rPr>
          </a:b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>assessment </a:t>
          </a:r>
        </a:p>
      </dsp:txBody>
      <dsp:txXfrm>
        <a:off x="563438" y="796562"/>
        <a:ext cx="1668593" cy="997674"/>
      </dsp:txXfrm>
    </dsp:sp>
    <dsp:sp modelId="{88A755E8-FC2A-443D-8B8F-B4C33D8F9C88}">
      <dsp:nvSpPr>
        <dsp:cNvPr id="0" name=""/>
        <dsp:cNvSpPr/>
      </dsp:nvSpPr>
      <dsp:spPr>
        <a:xfrm>
          <a:off x="2458213" y="777240"/>
          <a:ext cx="2305702" cy="1036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>Instrument</a:t>
          </a:r>
          <a:br>
            <a:rPr lang="en-US" sz="1800" kern="1200" noProof="0" dirty="0" smtClean="0">
              <a:latin typeface="Arial" pitchFamily="34" charset="0"/>
              <a:cs typeface="Arial" pitchFamily="34" charset="0"/>
            </a:rPr>
          </a:b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> correction</a:t>
          </a:r>
          <a:br>
            <a:rPr lang="en-US" sz="1800" kern="1200" noProof="0" dirty="0" smtClean="0">
              <a:latin typeface="Arial" pitchFamily="34" charset="0"/>
              <a:cs typeface="Arial" pitchFamily="34" charset="0"/>
            </a:rPr>
          </a:br>
          <a:r>
            <a:rPr lang="en-US" sz="1800" kern="1200" noProof="0" dirty="0" smtClean="0">
              <a:latin typeface="Arial" pitchFamily="34" charset="0"/>
              <a:cs typeface="Arial" pitchFamily="34" charset="0"/>
            </a:rPr>
            <a:t>algorithms</a:t>
          </a:r>
        </a:p>
      </dsp:txBody>
      <dsp:txXfrm>
        <a:off x="2508802" y="827829"/>
        <a:ext cx="2204524" cy="9351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556181-2A91-461C-9FE9-2023DFCFF01D}">
      <dsp:nvSpPr>
        <dsp:cNvPr id="0" name=""/>
        <dsp:cNvSpPr/>
      </dsp:nvSpPr>
      <dsp:spPr>
        <a:xfrm>
          <a:off x="3380928" y="3049"/>
          <a:ext cx="1303349" cy="868899"/>
        </a:xfrm>
        <a:prstGeom prst="roundRect">
          <a:avLst>
            <a:gd name="adj" fmla="val 10000"/>
          </a:avLst>
        </a:prstGeom>
        <a:solidFill>
          <a:srgbClr val="C0E498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latin typeface="Arial" pitchFamily="34" charset="0"/>
              <a:cs typeface="Arial" pitchFamily="34" charset="0"/>
            </a:rPr>
            <a:t>GSICS Exec Panel</a:t>
          </a:r>
          <a:endParaRPr lang="en-GB" sz="1300" b="1" kern="1200" dirty="0">
            <a:latin typeface="Arial" pitchFamily="34" charset="0"/>
            <a:cs typeface="Arial" pitchFamily="34" charset="0"/>
          </a:endParaRPr>
        </a:p>
      </dsp:txBody>
      <dsp:txXfrm>
        <a:off x="3406377" y="28498"/>
        <a:ext cx="1252451" cy="818001"/>
      </dsp:txXfrm>
    </dsp:sp>
    <dsp:sp modelId="{A1CEFBCF-63D4-4002-BA6C-5041D5A27720}">
      <dsp:nvSpPr>
        <dsp:cNvPr id="0" name=""/>
        <dsp:cNvSpPr/>
      </dsp:nvSpPr>
      <dsp:spPr>
        <a:xfrm>
          <a:off x="2338249" y="871948"/>
          <a:ext cx="1694353" cy="347559"/>
        </a:xfrm>
        <a:custGeom>
          <a:avLst/>
          <a:gdLst/>
          <a:ahLst/>
          <a:cxnLst/>
          <a:rect l="0" t="0" r="0" b="0"/>
          <a:pathLst>
            <a:path>
              <a:moveTo>
                <a:pt x="1694353" y="0"/>
              </a:moveTo>
              <a:lnTo>
                <a:pt x="1694353" y="173779"/>
              </a:lnTo>
              <a:lnTo>
                <a:pt x="0" y="173779"/>
              </a:lnTo>
              <a:lnTo>
                <a:pt x="0" y="3475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C7C8D6-8083-4C5B-8849-4524C3E7309C}">
      <dsp:nvSpPr>
        <dsp:cNvPr id="0" name=""/>
        <dsp:cNvSpPr/>
      </dsp:nvSpPr>
      <dsp:spPr>
        <a:xfrm>
          <a:off x="1686575" y="1219508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latin typeface="Arial" pitchFamily="34" charset="0"/>
              <a:cs typeface="Arial" pitchFamily="34" charset="0"/>
            </a:rPr>
            <a:t>GSICS Coordination </a:t>
          </a:r>
          <a:r>
            <a:rPr lang="en-GB" sz="1300" b="1" kern="1200" dirty="0" err="1" smtClean="0">
              <a:latin typeface="Arial" pitchFamily="34" charset="0"/>
              <a:cs typeface="Arial" pitchFamily="34" charset="0"/>
            </a:rPr>
            <a:t>Center</a:t>
          </a:r>
          <a:endParaRPr lang="en-GB" sz="1300" b="1" kern="1200" dirty="0">
            <a:latin typeface="Arial" pitchFamily="34" charset="0"/>
            <a:cs typeface="Arial" pitchFamily="34" charset="0"/>
          </a:endParaRPr>
        </a:p>
      </dsp:txBody>
      <dsp:txXfrm>
        <a:off x="1712024" y="1244957"/>
        <a:ext cx="1252451" cy="818001"/>
      </dsp:txXfrm>
    </dsp:sp>
    <dsp:sp modelId="{848E9E0F-C9B3-4EED-8F8C-99C51DB9EA4E}">
      <dsp:nvSpPr>
        <dsp:cNvPr id="0" name=""/>
        <dsp:cNvSpPr/>
      </dsp:nvSpPr>
      <dsp:spPr>
        <a:xfrm>
          <a:off x="3986883" y="871948"/>
          <a:ext cx="91440" cy="34755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5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A5A753-27DD-421F-BC45-07333D70FAE9}">
      <dsp:nvSpPr>
        <dsp:cNvPr id="0" name=""/>
        <dsp:cNvSpPr/>
      </dsp:nvSpPr>
      <dsp:spPr>
        <a:xfrm>
          <a:off x="3380928" y="1219508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latin typeface="Arial" pitchFamily="34" charset="0"/>
              <a:cs typeface="Arial" pitchFamily="34" charset="0"/>
            </a:rPr>
            <a:t>GSICS Research Working Group</a:t>
          </a:r>
          <a:endParaRPr lang="en-GB" sz="1300" b="1" kern="1200" dirty="0">
            <a:latin typeface="Arial" pitchFamily="34" charset="0"/>
            <a:cs typeface="Arial" pitchFamily="34" charset="0"/>
          </a:endParaRPr>
        </a:p>
      </dsp:txBody>
      <dsp:txXfrm>
        <a:off x="3406377" y="1244957"/>
        <a:ext cx="1252451" cy="818001"/>
      </dsp:txXfrm>
    </dsp:sp>
    <dsp:sp modelId="{380322F4-57BE-4816-807F-E12D5241257A}">
      <dsp:nvSpPr>
        <dsp:cNvPr id="0" name=""/>
        <dsp:cNvSpPr/>
      </dsp:nvSpPr>
      <dsp:spPr>
        <a:xfrm>
          <a:off x="1491072" y="2088407"/>
          <a:ext cx="2541530" cy="347559"/>
        </a:xfrm>
        <a:custGeom>
          <a:avLst/>
          <a:gdLst/>
          <a:ahLst/>
          <a:cxnLst/>
          <a:rect l="0" t="0" r="0" b="0"/>
          <a:pathLst>
            <a:path>
              <a:moveTo>
                <a:pt x="2541530" y="0"/>
              </a:moveTo>
              <a:lnTo>
                <a:pt x="2541530" y="173779"/>
              </a:lnTo>
              <a:lnTo>
                <a:pt x="0" y="173779"/>
              </a:lnTo>
              <a:lnTo>
                <a:pt x="0" y="34755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BB0742-3710-46C3-9530-D11D16964A7B}">
      <dsp:nvSpPr>
        <dsp:cNvPr id="0" name=""/>
        <dsp:cNvSpPr/>
      </dsp:nvSpPr>
      <dsp:spPr>
        <a:xfrm>
          <a:off x="839398" y="2435967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UV </a:t>
          </a:r>
          <a:br>
            <a:rPr lang="en-GB" sz="1300" kern="1200" dirty="0" smtClean="0">
              <a:latin typeface="Arial" pitchFamily="34" charset="0"/>
              <a:cs typeface="Arial" pitchFamily="34" charset="0"/>
            </a:rPr>
          </a:br>
          <a:r>
            <a:rPr lang="en-GB" sz="1300" kern="1200" dirty="0" smtClean="0">
              <a:latin typeface="Arial" pitchFamily="34" charset="0"/>
              <a:cs typeface="Arial" pitchFamily="34" charset="0"/>
            </a:rPr>
            <a:t>Sub-Group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864847" y="2461416"/>
        <a:ext cx="1252451" cy="818001"/>
      </dsp:txXfrm>
    </dsp:sp>
    <dsp:sp modelId="{5A5E28F9-3D69-436E-9A92-AA6BA7D31450}">
      <dsp:nvSpPr>
        <dsp:cNvPr id="0" name=""/>
        <dsp:cNvSpPr/>
      </dsp:nvSpPr>
      <dsp:spPr>
        <a:xfrm>
          <a:off x="1445352" y="3304866"/>
          <a:ext cx="91440" cy="34755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559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BCD09D-BB5A-493B-B4D3-FAED6B060446}">
      <dsp:nvSpPr>
        <dsp:cNvPr id="0" name=""/>
        <dsp:cNvSpPr/>
      </dsp:nvSpPr>
      <dsp:spPr>
        <a:xfrm>
          <a:off x="839398" y="3652426"/>
          <a:ext cx="1303349" cy="868899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WGCV ACSG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864847" y="3677875"/>
        <a:ext cx="1252451" cy="818001"/>
      </dsp:txXfrm>
    </dsp:sp>
    <dsp:sp modelId="{96D513FE-8BF4-4854-BAE2-47D418A0EA24}">
      <dsp:nvSpPr>
        <dsp:cNvPr id="0" name=""/>
        <dsp:cNvSpPr/>
      </dsp:nvSpPr>
      <dsp:spPr>
        <a:xfrm>
          <a:off x="3185426" y="2088407"/>
          <a:ext cx="847176" cy="347559"/>
        </a:xfrm>
        <a:custGeom>
          <a:avLst/>
          <a:gdLst/>
          <a:ahLst/>
          <a:cxnLst/>
          <a:rect l="0" t="0" r="0" b="0"/>
          <a:pathLst>
            <a:path>
              <a:moveTo>
                <a:pt x="847176" y="0"/>
              </a:moveTo>
              <a:lnTo>
                <a:pt x="847176" y="173779"/>
              </a:lnTo>
              <a:lnTo>
                <a:pt x="0" y="173779"/>
              </a:lnTo>
              <a:lnTo>
                <a:pt x="0" y="34755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EA02F6-6E4C-47D7-AE53-9D496D0D1A3D}">
      <dsp:nvSpPr>
        <dsp:cNvPr id="0" name=""/>
        <dsp:cNvSpPr/>
      </dsp:nvSpPr>
      <dsp:spPr>
        <a:xfrm>
          <a:off x="2533752" y="2435967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VIS/NIR </a:t>
          </a:r>
          <a:br>
            <a:rPr lang="en-GB" sz="1300" kern="1200" dirty="0" smtClean="0">
              <a:latin typeface="Arial" pitchFamily="34" charset="0"/>
              <a:cs typeface="Arial" pitchFamily="34" charset="0"/>
            </a:rPr>
          </a:br>
          <a:r>
            <a:rPr lang="en-GB" sz="1300" kern="1200" dirty="0" smtClean="0">
              <a:latin typeface="Arial" pitchFamily="34" charset="0"/>
              <a:cs typeface="Arial" pitchFamily="34" charset="0"/>
            </a:rPr>
            <a:t>Sub-Group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2559201" y="2461416"/>
        <a:ext cx="1252451" cy="818001"/>
      </dsp:txXfrm>
    </dsp:sp>
    <dsp:sp modelId="{A0540E16-FED4-421A-B323-308DA2729327}">
      <dsp:nvSpPr>
        <dsp:cNvPr id="0" name=""/>
        <dsp:cNvSpPr/>
      </dsp:nvSpPr>
      <dsp:spPr>
        <a:xfrm>
          <a:off x="3139002" y="3304866"/>
          <a:ext cx="91440" cy="294565"/>
        </a:xfrm>
        <a:custGeom>
          <a:avLst/>
          <a:gdLst/>
          <a:ahLst/>
          <a:cxnLst/>
          <a:rect l="0" t="0" r="0" b="0"/>
          <a:pathLst>
            <a:path>
              <a:moveTo>
                <a:pt x="46423" y="0"/>
              </a:moveTo>
              <a:lnTo>
                <a:pt x="46423" y="147282"/>
              </a:lnTo>
              <a:lnTo>
                <a:pt x="45720" y="147282"/>
              </a:lnTo>
              <a:lnTo>
                <a:pt x="45720" y="294565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B14F6D-8617-49B8-8BA6-479706863532}">
      <dsp:nvSpPr>
        <dsp:cNvPr id="0" name=""/>
        <dsp:cNvSpPr/>
      </dsp:nvSpPr>
      <dsp:spPr>
        <a:xfrm>
          <a:off x="2533048" y="3599432"/>
          <a:ext cx="1303349" cy="868899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WGCV IVOS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2558497" y="3624881"/>
        <a:ext cx="1252451" cy="818001"/>
      </dsp:txXfrm>
    </dsp:sp>
    <dsp:sp modelId="{E043E564-3957-43F0-B8C0-6B1B470DD2B9}">
      <dsp:nvSpPr>
        <dsp:cNvPr id="0" name=""/>
        <dsp:cNvSpPr/>
      </dsp:nvSpPr>
      <dsp:spPr>
        <a:xfrm>
          <a:off x="4032603" y="2088407"/>
          <a:ext cx="968649" cy="347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775"/>
              </a:lnTo>
              <a:lnTo>
                <a:pt x="968649" y="173775"/>
              </a:lnTo>
              <a:lnTo>
                <a:pt x="968649" y="3475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2827D9-C3DD-4DE0-A79A-E8B96C207F19}">
      <dsp:nvSpPr>
        <dsp:cNvPr id="0" name=""/>
        <dsp:cNvSpPr/>
      </dsp:nvSpPr>
      <dsp:spPr>
        <a:xfrm>
          <a:off x="4349578" y="2435958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IR </a:t>
          </a:r>
          <a:br>
            <a:rPr lang="en-GB" sz="1300" kern="1200" dirty="0" smtClean="0">
              <a:latin typeface="Arial" pitchFamily="34" charset="0"/>
              <a:cs typeface="Arial" pitchFamily="34" charset="0"/>
            </a:rPr>
          </a:br>
          <a:r>
            <a:rPr lang="en-GB" sz="1300" kern="1200" dirty="0" smtClean="0">
              <a:latin typeface="Arial" pitchFamily="34" charset="0"/>
              <a:cs typeface="Arial" pitchFamily="34" charset="0"/>
            </a:rPr>
            <a:t>Sub-Group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4375027" y="2461407"/>
        <a:ext cx="1252451" cy="818001"/>
      </dsp:txXfrm>
    </dsp:sp>
    <dsp:sp modelId="{5CE182AC-0210-48C5-9C8E-6FE975553AD4}">
      <dsp:nvSpPr>
        <dsp:cNvPr id="0" name=""/>
        <dsp:cNvSpPr/>
      </dsp:nvSpPr>
      <dsp:spPr>
        <a:xfrm>
          <a:off x="4032603" y="2088407"/>
          <a:ext cx="2541530" cy="3475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779"/>
              </a:lnTo>
              <a:lnTo>
                <a:pt x="2541530" y="173779"/>
              </a:lnTo>
              <a:lnTo>
                <a:pt x="2541530" y="34755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1D1463-36DA-4760-8DEB-126908982614}">
      <dsp:nvSpPr>
        <dsp:cNvPr id="0" name=""/>
        <dsp:cNvSpPr/>
      </dsp:nvSpPr>
      <dsp:spPr>
        <a:xfrm>
          <a:off x="5922459" y="2435967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Microwave Sub-Group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5947908" y="2461416"/>
        <a:ext cx="1252451" cy="818001"/>
      </dsp:txXfrm>
    </dsp:sp>
    <dsp:sp modelId="{1ECA76A4-3769-45B6-9FC9-2F65D7A33A80}">
      <dsp:nvSpPr>
        <dsp:cNvPr id="0" name=""/>
        <dsp:cNvSpPr/>
      </dsp:nvSpPr>
      <dsp:spPr>
        <a:xfrm>
          <a:off x="6519929" y="3304866"/>
          <a:ext cx="91440" cy="333865"/>
        </a:xfrm>
        <a:custGeom>
          <a:avLst/>
          <a:gdLst/>
          <a:ahLst/>
          <a:cxnLst/>
          <a:rect l="0" t="0" r="0" b="0"/>
          <a:pathLst>
            <a:path>
              <a:moveTo>
                <a:pt x="54204" y="0"/>
              </a:moveTo>
              <a:lnTo>
                <a:pt x="54204" y="166932"/>
              </a:lnTo>
              <a:lnTo>
                <a:pt x="45720" y="166932"/>
              </a:lnTo>
              <a:lnTo>
                <a:pt x="45720" y="333865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490445-FAA9-4DAE-9916-17C19E5B6967}">
      <dsp:nvSpPr>
        <dsp:cNvPr id="0" name=""/>
        <dsp:cNvSpPr/>
      </dsp:nvSpPr>
      <dsp:spPr>
        <a:xfrm>
          <a:off x="5913974" y="3638732"/>
          <a:ext cx="1303349" cy="868899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6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6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6">
                <a:lumMod val="60000"/>
                <a:lumOff val="40000"/>
                <a:tint val="23500"/>
                <a:satMod val="160000"/>
              </a:scheme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WGCV MWSG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5939423" y="3664181"/>
        <a:ext cx="1252451" cy="818001"/>
      </dsp:txXfrm>
    </dsp:sp>
    <dsp:sp modelId="{1C2DEEE1-D32B-4856-AABA-718129D8D787}">
      <dsp:nvSpPr>
        <dsp:cNvPr id="0" name=""/>
        <dsp:cNvSpPr/>
      </dsp:nvSpPr>
      <dsp:spPr>
        <a:xfrm>
          <a:off x="6574134" y="3304866"/>
          <a:ext cx="1686575" cy="3475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779"/>
              </a:lnTo>
              <a:lnTo>
                <a:pt x="1686575" y="173779"/>
              </a:lnTo>
              <a:lnTo>
                <a:pt x="1686575" y="347559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dash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418786-886F-4630-B966-1315BFC79BBB}">
      <dsp:nvSpPr>
        <dsp:cNvPr id="0" name=""/>
        <dsp:cNvSpPr/>
      </dsp:nvSpPr>
      <dsp:spPr>
        <a:xfrm>
          <a:off x="7609034" y="3652426"/>
          <a:ext cx="1303349" cy="868899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rgbClr val="00B0F0">
                <a:tint val="66000"/>
                <a:satMod val="160000"/>
              </a:srgbClr>
            </a:gs>
            <a:gs pos="50000">
              <a:srgbClr val="00B0F0">
                <a:tint val="44500"/>
                <a:satMod val="160000"/>
              </a:srgbClr>
            </a:gs>
            <a:gs pos="100000">
              <a:srgbClr val="00B0F0">
                <a:tint val="23500"/>
                <a:satMod val="160000"/>
              </a:srgbClr>
            </a:gs>
          </a:gsLst>
          <a:lin ang="54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>
              <a:latin typeface="Arial" pitchFamily="34" charset="0"/>
              <a:cs typeface="Arial" pitchFamily="34" charset="0"/>
            </a:rPr>
            <a:t>GPM X-CAL</a:t>
          </a:r>
          <a:endParaRPr lang="en-GB" sz="1300" kern="1200" dirty="0">
            <a:latin typeface="Arial" pitchFamily="34" charset="0"/>
            <a:cs typeface="Arial" pitchFamily="34" charset="0"/>
          </a:endParaRPr>
        </a:p>
      </dsp:txBody>
      <dsp:txXfrm>
        <a:off x="7634483" y="3677875"/>
        <a:ext cx="1252451" cy="818001"/>
      </dsp:txXfrm>
    </dsp:sp>
    <dsp:sp modelId="{785E11EE-5A08-41F1-BB0F-024A0F91D569}">
      <dsp:nvSpPr>
        <dsp:cNvPr id="0" name=""/>
        <dsp:cNvSpPr/>
      </dsp:nvSpPr>
      <dsp:spPr>
        <a:xfrm>
          <a:off x="4032603" y="871948"/>
          <a:ext cx="1694353" cy="3475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779"/>
              </a:lnTo>
              <a:lnTo>
                <a:pt x="1694353" y="173779"/>
              </a:lnTo>
              <a:lnTo>
                <a:pt x="1694353" y="3475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ED0F4A-ACB6-4D52-B857-1E2275A94F7D}">
      <dsp:nvSpPr>
        <dsp:cNvPr id="0" name=""/>
        <dsp:cNvSpPr/>
      </dsp:nvSpPr>
      <dsp:spPr>
        <a:xfrm>
          <a:off x="5075282" y="1219508"/>
          <a:ext cx="1303349" cy="868899"/>
        </a:xfrm>
        <a:prstGeom prst="roundRect">
          <a:avLst>
            <a:gd name="adj" fmla="val 10000"/>
          </a:avLst>
        </a:prstGeom>
        <a:solidFill>
          <a:srgbClr val="92D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latin typeface="Arial" pitchFamily="34" charset="0"/>
              <a:cs typeface="Arial" pitchFamily="34" charset="0"/>
            </a:rPr>
            <a:t>GSICS Data Working Group</a:t>
          </a:r>
          <a:endParaRPr lang="en-GB" sz="1300" b="1" kern="1200" dirty="0">
            <a:latin typeface="Arial" pitchFamily="34" charset="0"/>
            <a:cs typeface="Arial" pitchFamily="34" charset="0"/>
          </a:endParaRPr>
        </a:p>
      </dsp:txBody>
      <dsp:txXfrm>
        <a:off x="5100731" y="1244957"/>
        <a:ext cx="1252451" cy="8180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9E0334-C3A6-4EA3-85F5-BC1B3A0D66A6}">
      <dsp:nvSpPr>
        <dsp:cNvPr id="0" name=""/>
        <dsp:cNvSpPr/>
      </dsp:nvSpPr>
      <dsp:spPr>
        <a:xfrm>
          <a:off x="0" y="3875030"/>
          <a:ext cx="8229599" cy="8477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2000" b="1" kern="1200" dirty="0" err="1" smtClean="0">
              <a:latin typeface="Arial" pitchFamily="34" charset="0"/>
              <a:cs typeface="Arial" pitchFamily="34" charset="0"/>
            </a:rPr>
            <a:t>Operational</a:t>
          </a:r>
          <a:r>
            <a:rPr lang="fr-CH" sz="2000" b="1" kern="1200" dirty="0" smtClean="0">
              <a:latin typeface="Arial" pitchFamily="34" charset="0"/>
              <a:cs typeface="Arial" pitchFamily="34" charset="0"/>
            </a:rPr>
            <a:t> Phase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>
        <a:off x="0" y="3875030"/>
        <a:ext cx="8229599" cy="457791"/>
      </dsp:txXfrm>
    </dsp:sp>
    <dsp:sp modelId="{413D48C9-AB97-4757-A6C4-1823C3363725}">
      <dsp:nvSpPr>
        <dsp:cNvPr id="0" name=""/>
        <dsp:cNvSpPr/>
      </dsp:nvSpPr>
      <dsp:spPr>
        <a:xfrm>
          <a:off x="0" y="4315867"/>
          <a:ext cx="8229599" cy="3899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128016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smtClean="0">
              <a:latin typeface="Arial" pitchFamily="34" charset="0"/>
              <a:cs typeface="Arial" pitchFamily="34" charset="0"/>
            </a:rPr>
            <a:t>EUMETSAT(Meteosat 8-11/IASI)</a:t>
          </a:r>
          <a:endParaRPr lang="en-US" sz="1800" kern="1200" dirty="0">
            <a:latin typeface="Arial" pitchFamily="34" charset="0"/>
            <a:cs typeface="Arial" pitchFamily="34" charset="0"/>
          </a:endParaRPr>
        </a:p>
      </dsp:txBody>
      <dsp:txXfrm>
        <a:off x="0" y="4315867"/>
        <a:ext cx="8229599" cy="389970"/>
      </dsp:txXfrm>
    </dsp:sp>
    <dsp:sp modelId="{BBE3F89B-4B89-41EB-9442-D741ED8ED2C6}">
      <dsp:nvSpPr>
        <dsp:cNvPr id="0" name=""/>
        <dsp:cNvSpPr/>
      </dsp:nvSpPr>
      <dsp:spPr>
        <a:xfrm rot="10800000">
          <a:off x="0" y="2583889"/>
          <a:ext cx="8229599" cy="1303857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2000" b="1" kern="1200" dirty="0" err="1" smtClean="0">
              <a:latin typeface="Arial" pitchFamily="34" charset="0"/>
              <a:cs typeface="Arial" pitchFamily="34" charset="0"/>
            </a:rPr>
            <a:t>Pre-operational</a:t>
          </a:r>
          <a:r>
            <a:rPr lang="fr-CH" sz="2000" b="1" kern="1200" dirty="0" smtClean="0">
              <a:latin typeface="Arial" pitchFamily="34" charset="0"/>
              <a:cs typeface="Arial" pitchFamily="34" charset="0"/>
            </a:rPr>
            <a:t> Phase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 rot="-10800000">
        <a:off x="0" y="2583889"/>
        <a:ext cx="8229599" cy="457654"/>
      </dsp:txXfrm>
    </dsp:sp>
    <dsp:sp modelId="{7B51F674-0477-4ECA-95B3-C106670ACA4B}">
      <dsp:nvSpPr>
        <dsp:cNvPr id="0" name=""/>
        <dsp:cNvSpPr/>
      </dsp:nvSpPr>
      <dsp:spPr>
        <a:xfrm>
          <a:off x="0" y="3041543"/>
          <a:ext cx="8229599" cy="3898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128016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" pitchFamily="34" charset="0"/>
              <a:cs typeface="Arial" pitchFamily="34" charset="0"/>
            </a:rPr>
            <a:t>GOES-13, 15 (NRT&amp;RAC). GOES-11, 12 (NRT)</a:t>
          </a:r>
          <a:endParaRPr lang="en-US" sz="1800" kern="1200" dirty="0">
            <a:latin typeface="Arial" pitchFamily="34" charset="0"/>
            <a:cs typeface="Arial" pitchFamily="34" charset="0"/>
          </a:endParaRPr>
        </a:p>
      </dsp:txBody>
      <dsp:txXfrm>
        <a:off x="0" y="3041543"/>
        <a:ext cx="8229599" cy="389853"/>
      </dsp:txXfrm>
    </dsp:sp>
    <dsp:sp modelId="{BF3A6AD0-67FD-409A-BBB2-07077DF0A58F}">
      <dsp:nvSpPr>
        <dsp:cNvPr id="0" name=""/>
        <dsp:cNvSpPr/>
      </dsp:nvSpPr>
      <dsp:spPr>
        <a:xfrm rot="10800000">
          <a:off x="0" y="1295394"/>
          <a:ext cx="8229599" cy="1303857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rPr>
            <a:t>Demonstration Phase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 rot="-10800000">
        <a:off x="0" y="1295394"/>
        <a:ext cx="8229599" cy="457654"/>
      </dsp:txXfrm>
    </dsp:sp>
    <dsp:sp modelId="{00C69F31-A8FB-40EA-9F38-8F153DDD7747}">
      <dsp:nvSpPr>
        <dsp:cNvPr id="0" name=""/>
        <dsp:cNvSpPr/>
      </dsp:nvSpPr>
      <dsp:spPr>
        <a:xfrm>
          <a:off x="0" y="1752600"/>
          <a:ext cx="8229599" cy="3898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128016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smtClean="0">
              <a:latin typeface="Arial" pitchFamily="34" charset="0"/>
              <a:cs typeface="Arial" pitchFamily="34" charset="0"/>
            </a:rPr>
            <a:t>EUM (MET-7), JMA(Himawari-8), KMA(COMS), ISRO(INSAT-3D)</a:t>
          </a:r>
          <a:endParaRPr lang="en-US" sz="1800" kern="1200" dirty="0">
            <a:latin typeface="Arial" pitchFamily="34" charset="0"/>
            <a:cs typeface="Arial" pitchFamily="34" charset="0"/>
          </a:endParaRPr>
        </a:p>
      </dsp:txBody>
      <dsp:txXfrm>
        <a:off x="0" y="1752600"/>
        <a:ext cx="8229599" cy="389853"/>
      </dsp:txXfrm>
    </dsp:sp>
    <dsp:sp modelId="{FAF8D13E-5C90-4075-88FA-6AB7E83BC103}">
      <dsp:nvSpPr>
        <dsp:cNvPr id="0" name=""/>
        <dsp:cNvSpPr/>
      </dsp:nvSpPr>
      <dsp:spPr>
        <a:xfrm rot="10800000">
          <a:off x="0" y="2"/>
          <a:ext cx="8229599" cy="1303857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rPr>
            <a:t>Development  Phase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 rot="-10800000">
        <a:off x="0" y="2"/>
        <a:ext cx="8229599" cy="457654"/>
      </dsp:txXfrm>
    </dsp:sp>
    <dsp:sp modelId="{FC3187CB-6E81-45FF-AA1C-F9C498752C7A}">
      <dsp:nvSpPr>
        <dsp:cNvPr id="0" name=""/>
        <dsp:cNvSpPr/>
      </dsp:nvSpPr>
      <dsp:spPr>
        <a:xfrm>
          <a:off x="0" y="459260"/>
          <a:ext cx="8229599" cy="3898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128016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" pitchFamily="34" charset="0"/>
              <a:cs typeface="Arial" pitchFamily="34" charset="0"/>
            </a:rPr>
            <a:t>GOES-sounder, </a:t>
          </a:r>
          <a:r>
            <a:rPr lang="en-US" sz="1800" kern="1200" dirty="0" smtClean="0">
              <a:latin typeface="Arial" pitchFamily="34" charset="0"/>
              <a:cs typeface="Arial" pitchFamily="34" charset="0"/>
            </a:rPr>
            <a:t>FY2E-2H, FY-4A</a:t>
          </a:r>
          <a:endParaRPr lang="en-US" sz="1800" kern="1200" dirty="0">
            <a:latin typeface="Arial" pitchFamily="34" charset="0"/>
            <a:cs typeface="Arial" pitchFamily="34" charset="0"/>
          </a:endParaRPr>
        </a:p>
      </dsp:txBody>
      <dsp:txXfrm>
        <a:off x="0" y="459260"/>
        <a:ext cx="8229599" cy="3898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2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2EB47A-D9BF-444B-9A56-D43E0237CE4D}" type="datetimeFigureOut">
              <a:rPr lang="ko-KR" altLang="en-US" smtClean="0"/>
              <a:pPr/>
              <a:t>2019-03-02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9752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9752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85E17F-943B-4ADB-8DDB-E3830A2CAC4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62618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8" y="0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896A9C8-F81D-452E-94EB-516219ADA450}" type="datetimeFigureOut">
              <a:rPr lang="ko-KR" altLang="en-US" smtClean="0"/>
              <a:pPr/>
              <a:t>2019-03-02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2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4" y="9430091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8" y="9430091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AA27E3C-B002-4ACA-A73D-211ABB6B2C07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85885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27E3C-B002-4ACA-A73D-211ABB6B2C07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05882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fld id="{A42F737B-C8E3-45D0-A216-4600EBA8B23D}" type="datetime1">
              <a:rPr lang="en-GB"/>
              <a:pPr/>
              <a:t>02/03/2019</a:t>
            </a:fld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1097D70D-2886-4609-B6E7-551685F93A1F}" type="slidenum">
              <a:rPr lang="de-DE"/>
              <a:pPr/>
              <a:t>16</a:t>
            </a:fld>
            <a:endParaRPr lang="de-DE"/>
          </a:p>
        </p:txBody>
      </p:sp>
      <p:sp>
        <p:nvSpPr>
          <p:cNvPr id="440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15988" y="742950"/>
            <a:ext cx="4964112" cy="3722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4308" y="4714875"/>
            <a:ext cx="4987442" cy="44704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fld id="{A42F737B-C8E3-45D0-A216-4600EBA8B23D}" type="datetime1">
              <a:rPr lang="en-GB"/>
              <a:pPr/>
              <a:t>02/03/2019</a:t>
            </a:fld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2E10D23F-A7B1-4C06-81D9-50D64F4DE154}" type="slidenum">
              <a:rPr lang="de-DE"/>
              <a:pPr/>
              <a:t>17</a:t>
            </a:fld>
            <a:endParaRPr lang="de-DE"/>
          </a:p>
        </p:txBody>
      </p:sp>
      <p:sp>
        <p:nvSpPr>
          <p:cNvPr id="450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15988" y="742950"/>
            <a:ext cx="4964112" cy="3722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4308" y="4714875"/>
            <a:ext cx="4987442" cy="44704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fld id="{A42F737B-C8E3-45D0-A216-4600EBA8B23D}" type="datetime1">
              <a:rPr lang="en-GB"/>
              <a:pPr/>
              <a:t>02/03/2019</a:t>
            </a:fld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2E10D23F-A7B1-4C06-81D9-50D64F4DE154}" type="slidenum">
              <a:rPr lang="de-DE"/>
              <a:pPr/>
              <a:t>20</a:t>
            </a:fld>
            <a:endParaRPr lang="de-DE"/>
          </a:p>
        </p:txBody>
      </p:sp>
      <p:sp>
        <p:nvSpPr>
          <p:cNvPr id="450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15988" y="742950"/>
            <a:ext cx="4964112" cy="3722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4308" y="4714875"/>
            <a:ext cx="4987442" cy="4470400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62EA6A43-699B-4918-B266-52D16670EEF9}" type="datetime1">
              <a:rPr lang="ko-KR" altLang="en-US" smtClean="0"/>
              <a:pPr>
                <a:defRPr/>
              </a:pPr>
              <a:t>2019-03-02</a:t>
            </a:fld>
            <a:endParaRPr lang="ko-KR" altLang="en-US" dirty="0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6C1BB9BA-0FE8-4E7C-9CA9-497E72D2E661}" type="slidenum">
              <a:rPr lang="ko-KR" altLang="en-US"/>
              <a:pPr>
                <a:defRPr/>
              </a:pPr>
              <a:t>‹#›</a:t>
            </a:fld>
            <a:endParaRPr lang="ko-KR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제목(Doh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28600" y="76201"/>
            <a:ext cx="7886700" cy="551023"/>
          </a:xfrm>
        </p:spPr>
        <p:txBody>
          <a:bodyPr/>
          <a:lstStyle>
            <a:lvl1pPr>
              <a:defRPr sz="3600"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91440" y="735871"/>
            <a:ext cx="8774280" cy="0"/>
          </a:xfrm>
          <a:prstGeom prst="line">
            <a:avLst/>
          </a:prstGeom>
          <a:ln w="5715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1" descr="G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08306" y="6896"/>
            <a:ext cx="1686393" cy="6858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359140" y="6652800"/>
            <a:ext cx="7848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1DDF0A2-C106-43E5-8EA9-B1F17B7001B3}" type="slidenum">
              <a:rPr lang="ko-KR" altLang="en-US" sz="900" smtClean="0">
                <a:solidFill>
                  <a:schemeClr val="bg1">
                    <a:lumMod val="50000"/>
                  </a:schemeClr>
                </a:solidFill>
                <a:latin typeface="Book Antiqua" panose="02040602050305030304" pitchFamily="18" charset="0"/>
              </a:rPr>
              <a:pPr algn="r"/>
              <a:t>‹#›</a:t>
            </a:fld>
            <a:endParaRPr lang="en-US" altLang="ko-KR" sz="900" dirty="0" smtClean="0">
              <a:solidFill>
                <a:schemeClr val="bg1">
                  <a:lumMod val="50000"/>
                </a:schemeClr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 rot="16200000">
            <a:off x="8571230" y="6315624"/>
            <a:ext cx="1046480" cy="150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375" dirty="0" err="1" smtClean="0">
                <a:solidFill>
                  <a:schemeClr val="bg1">
                    <a:lumMod val="50000"/>
                  </a:schemeClr>
                </a:solidFill>
                <a:latin typeface="Book Antiqua" panose="02040602050305030304" pitchFamily="18" charset="0"/>
              </a:rPr>
              <a:t>dohy</a:t>
            </a:r>
            <a:endParaRPr lang="en-US" altLang="ko-KR" sz="375" dirty="0" smtClean="0">
              <a:solidFill>
                <a:schemeClr val="bg1">
                  <a:lumMod val="50000"/>
                </a:schemeClr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36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2"/>
          <p:cNvGrpSpPr>
            <a:grpSpLocks/>
          </p:cNvGrpSpPr>
          <p:nvPr userDrawn="1"/>
        </p:nvGrpSpPr>
        <p:grpSpPr bwMode="auto">
          <a:xfrm>
            <a:off x="4397" y="1090614"/>
            <a:ext cx="9139603" cy="128587"/>
            <a:chOff x="3" y="2044"/>
            <a:chExt cx="6237" cy="179"/>
          </a:xfrm>
        </p:grpSpPr>
        <p:sp>
          <p:nvSpPr>
            <p:cNvPr id="5" name="Rectangle 53"/>
            <p:cNvSpPr>
              <a:spLocks noChangeArrowheads="1"/>
            </p:cNvSpPr>
            <p:nvPr userDrawn="1"/>
          </p:nvSpPr>
          <p:spPr bwMode="auto">
            <a:xfrm>
              <a:off x="3" y="2044"/>
              <a:ext cx="2433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6" name="Rectangle 54"/>
            <p:cNvSpPr>
              <a:spLocks noChangeArrowheads="1"/>
            </p:cNvSpPr>
            <p:nvPr userDrawn="1"/>
          </p:nvSpPr>
          <p:spPr bwMode="auto">
            <a:xfrm>
              <a:off x="2557" y="2044"/>
              <a:ext cx="445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7" name="Rectangle 55"/>
            <p:cNvSpPr>
              <a:spLocks noChangeArrowheads="1"/>
            </p:cNvSpPr>
            <p:nvPr userDrawn="1"/>
          </p:nvSpPr>
          <p:spPr bwMode="auto">
            <a:xfrm>
              <a:off x="3149" y="2044"/>
              <a:ext cx="14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8" name="Rectangle 56"/>
            <p:cNvSpPr>
              <a:spLocks noChangeArrowheads="1"/>
            </p:cNvSpPr>
            <p:nvPr userDrawn="1"/>
          </p:nvSpPr>
          <p:spPr bwMode="auto">
            <a:xfrm>
              <a:off x="3476" y="2044"/>
              <a:ext cx="8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9" name="Rectangle 57"/>
            <p:cNvSpPr>
              <a:spLocks noChangeArrowheads="1"/>
            </p:cNvSpPr>
            <p:nvPr userDrawn="1"/>
          </p:nvSpPr>
          <p:spPr bwMode="auto">
            <a:xfrm>
              <a:off x="4398" y="2044"/>
              <a:ext cx="1842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3437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00921D2-999E-44F7-A956-A92CC42E67E8}" type="datetime1">
              <a:rPr lang="ko-KR" altLang="en-US" smtClean="0"/>
              <a:pPr>
                <a:defRPr/>
              </a:pPr>
              <a:t>2019-03-02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0529AB8-3D19-442E-AEB2-423BD0640854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1" r:id="rId2"/>
    <p:sldLayoutId id="214748378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utiger67-Condensed" pitchFamily="34" charset="0"/>
          <a:ea typeface="Cre고딕 B" pitchFamily="18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gsics.tools.eumetsat.int/plotter/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hyperlink" Target="http://gsics.wmo.int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r.nesdis.noaa.gov/smcd/GCC/index.php" TargetMode="External"/><Relationship Id="rId2" Type="http://schemas.openxmlformats.org/officeDocument/2006/relationships/hyperlink" Target="http://gsics.wmo.int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gsics.tools.eumetsat.int/plotter/" TargetMode="External"/><Relationship Id="rId5" Type="http://schemas.openxmlformats.org/officeDocument/2006/relationships/hyperlink" Target="http://gsics.atmos.umd.edu/wiki/Home" TargetMode="External"/><Relationship Id="rId4" Type="http://schemas.openxmlformats.org/officeDocument/2006/relationships/hyperlink" Target="http://www.star.nesdis.noaa.gov/smcd/GCC/ProductCatalog.php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5.jpe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제목 1"/>
          <p:cNvSpPr txBox="1">
            <a:spLocks/>
          </p:cNvSpPr>
          <p:nvPr/>
        </p:nvSpPr>
        <p:spPr>
          <a:xfrm>
            <a:off x="0" y="548680"/>
            <a:ext cx="9144000" cy="3528392"/>
          </a:xfrm>
          <a:prstGeom prst="rect">
            <a:avLst/>
          </a:prstGeom>
        </p:spPr>
        <p:txBody>
          <a:bodyPr rtlCol="0" anchor="ctr">
            <a:no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2pPr>
            <a:lvl3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3pPr>
            <a:lvl4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4pPr>
            <a:lvl5pPr algn="ctr" rtl="0" eaLnBrk="0" fontAlgn="base" latinLnBrk="1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Frutiger67-Condensed" pitchFamily="34" charset="0"/>
                <a:ea typeface="Cre고딕 B" pitchFamily="18" charset="-127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endParaRPr lang="ko-KR" altLang="en-US" sz="1400" b="1" spc="50" dirty="0" smtClean="0">
              <a:ln w="11430"/>
              <a:solidFill>
                <a:srgbClr val="00206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11560" y="2486506"/>
            <a:ext cx="806489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altLang="ko-KR" sz="4400" b="1" dirty="0">
                <a:latin typeface="Arial" pitchFamily="34" charset="0"/>
                <a:cs typeface="Arial" pitchFamily="34" charset="0"/>
              </a:rPr>
              <a:t>Introduction to </a:t>
            </a:r>
            <a:br>
              <a:rPr lang="en-IE" altLang="ko-KR" sz="4400" b="1" dirty="0">
                <a:latin typeface="Arial" pitchFamily="34" charset="0"/>
                <a:cs typeface="Arial" pitchFamily="34" charset="0"/>
              </a:rPr>
            </a:br>
            <a:r>
              <a:rPr lang="en-IE" altLang="ko-KR" sz="4400" b="1" dirty="0">
                <a:latin typeface="Arial" pitchFamily="34" charset="0"/>
                <a:cs typeface="Arial" pitchFamily="34" charset="0"/>
              </a:rPr>
              <a:t>Mini Conference &amp; GSICS</a:t>
            </a:r>
            <a:endParaRPr lang="ko-KR" altLang="en-US" sz="4400" b="1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pic>
        <p:nvPicPr>
          <p:cNvPr id="5" name="Picture 2" descr="H:\MY DOCUMENTS\GSICS\logo\GSICS500px.png"/>
          <p:cNvPicPr>
            <a:picLocks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401788" y="68627"/>
            <a:ext cx="4762500" cy="193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483768" y="4941168"/>
            <a:ext cx="5400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Xiuqing</a:t>
            </a:r>
            <a:r>
              <a:rPr lang="en-US" altLang="ko-K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Hu, </a:t>
            </a:r>
            <a:r>
              <a:rPr lang="en-US" altLang="ko-K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hyeong</a:t>
            </a:r>
            <a:r>
              <a:rPr lang="en-US" altLang="ko-K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Kim, </a:t>
            </a:r>
            <a:r>
              <a:rPr lang="en-US" altLang="ko-K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angfang</a:t>
            </a:r>
            <a:r>
              <a:rPr lang="en-US" altLang="ko-K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Yu</a:t>
            </a:r>
            <a:endParaRPr lang="en-US" altLang="ko-K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altLang="ko-K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GRWG Chair</a:t>
            </a:r>
            <a:endParaRPr lang="ko-KR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 smtClean="0">
                <a:latin typeface="Arial" pitchFamily="34" charset="0"/>
                <a:cs typeface="Arial" pitchFamily="34" charset="0"/>
              </a:rPr>
              <a:t>GSICS Structure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3230230"/>
              </p:ext>
            </p:extLst>
          </p:nvPr>
        </p:nvGraphicFramePr>
        <p:xfrm>
          <a:off x="107504" y="2289001"/>
          <a:ext cx="8912384" cy="4524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1" name="Straight Arrow Connector 11"/>
          <p:cNvCxnSpPr/>
          <p:nvPr/>
        </p:nvCxnSpPr>
        <p:spPr bwMode="auto">
          <a:xfrm>
            <a:off x="2421630" y="2058662"/>
            <a:ext cx="952693" cy="25265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32" name="Straight Arrow Connector 13"/>
          <p:cNvCxnSpPr>
            <a:stCxn id="51" idx="1"/>
          </p:cNvCxnSpPr>
          <p:nvPr/>
        </p:nvCxnSpPr>
        <p:spPr bwMode="auto">
          <a:xfrm flipH="1">
            <a:off x="4925885" y="2059423"/>
            <a:ext cx="791664" cy="40770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33" name="Straight Connector 24"/>
          <p:cNvCxnSpPr/>
          <p:nvPr/>
        </p:nvCxnSpPr>
        <p:spPr>
          <a:xfrm>
            <a:off x="1593634" y="5738471"/>
            <a:ext cx="1228298" cy="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8"/>
          <p:cNvCxnSpPr/>
          <p:nvPr/>
        </p:nvCxnSpPr>
        <p:spPr>
          <a:xfrm>
            <a:off x="2775758" y="5779414"/>
            <a:ext cx="0" cy="12283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1"/>
          <p:cNvCxnSpPr/>
          <p:nvPr/>
        </p:nvCxnSpPr>
        <p:spPr>
          <a:xfrm>
            <a:off x="3463219" y="5740746"/>
            <a:ext cx="1228298" cy="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2"/>
          <p:cNvCxnSpPr/>
          <p:nvPr/>
        </p:nvCxnSpPr>
        <p:spPr>
          <a:xfrm flipH="1" flipV="1">
            <a:off x="4689243" y="5588346"/>
            <a:ext cx="2274" cy="15240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3"/>
          <p:cNvCxnSpPr/>
          <p:nvPr/>
        </p:nvCxnSpPr>
        <p:spPr>
          <a:xfrm flipH="1">
            <a:off x="3416305" y="5737050"/>
            <a:ext cx="9525" cy="13335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4"/>
          <p:cNvGrpSpPr/>
          <p:nvPr/>
        </p:nvGrpSpPr>
        <p:grpSpPr>
          <a:xfrm>
            <a:off x="4634380" y="1087685"/>
            <a:ext cx="1298997" cy="866137"/>
            <a:chOff x="429368" y="1222822"/>
            <a:chExt cx="1299205" cy="866137"/>
          </a:xfrm>
          <a:scene3d>
            <a:camera prst="orthographicFront"/>
            <a:lightRig rig="flat" dir="t"/>
          </a:scene3d>
        </p:grpSpPr>
        <p:sp>
          <p:nvSpPr>
            <p:cNvPr id="39" name="Rounded Rectangle 30"/>
            <p:cNvSpPr/>
            <p:nvPr/>
          </p:nvSpPr>
          <p:spPr>
            <a:xfrm>
              <a:off x="429368" y="1222822"/>
              <a:ext cx="1299205" cy="866137"/>
            </a:xfrm>
            <a:prstGeom prst="roundRect">
              <a:avLst>
                <a:gd name="adj" fmla="val 1000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0" name="Rounded Rectangle 4"/>
            <p:cNvSpPr/>
            <p:nvPr/>
          </p:nvSpPr>
          <p:spPr>
            <a:xfrm>
              <a:off x="454736" y="1248190"/>
              <a:ext cx="1248469" cy="8154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300" kern="1200" dirty="0" smtClean="0">
                  <a:latin typeface="Arial" pitchFamily="34" charset="0"/>
                  <a:cs typeface="Arial" pitchFamily="34" charset="0"/>
                </a:rPr>
                <a:t>CGMS satellite operators</a:t>
              </a:r>
              <a:endParaRPr lang="en-GB" sz="13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"/>
          <p:cNvGrpSpPr/>
          <p:nvPr/>
        </p:nvGrpSpPr>
        <p:grpSpPr>
          <a:xfrm>
            <a:off x="3437859" y="808256"/>
            <a:ext cx="1298997" cy="866137"/>
            <a:chOff x="429368" y="1222822"/>
            <a:chExt cx="1299205" cy="866137"/>
          </a:xfrm>
          <a:scene3d>
            <a:camera prst="orthographicFront"/>
            <a:lightRig rig="flat" dir="t"/>
          </a:scene3d>
        </p:grpSpPr>
        <p:sp>
          <p:nvSpPr>
            <p:cNvPr id="42" name="Rounded Rectangle 23"/>
            <p:cNvSpPr/>
            <p:nvPr/>
          </p:nvSpPr>
          <p:spPr>
            <a:xfrm>
              <a:off x="429368" y="1222822"/>
              <a:ext cx="1299205" cy="866137"/>
            </a:xfrm>
            <a:prstGeom prst="roundRect">
              <a:avLst>
                <a:gd name="adj" fmla="val 1000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3" name="Rounded Rectangle 4"/>
            <p:cNvSpPr/>
            <p:nvPr/>
          </p:nvSpPr>
          <p:spPr>
            <a:xfrm>
              <a:off x="454736" y="1248190"/>
              <a:ext cx="1248469" cy="8154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300" kern="1200" dirty="0" smtClean="0">
                  <a:latin typeface="Arial" pitchFamily="34" charset="0"/>
                  <a:cs typeface="Arial" pitchFamily="34" charset="0"/>
                </a:rPr>
                <a:t>CGMS satellite operators</a:t>
              </a:r>
              <a:endParaRPr lang="en-GB" sz="13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"/>
          <p:cNvGrpSpPr/>
          <p:nvPr/>
        </p:nvGrpSpPr>
        <p:grpSpPr>
          <a:xfrm>
            <a:off x="2222604" y="1052235"/>
            <a:ext cx="1298997" cy="866137"/>
            <a:chOff x="429368" y="1222822"/>
            <a:chExt cx="1299205" cy="866137"/>
          </a:xfrm>
          <a:scene3d>
            <a:camera prst="orthographicFront"/>
            <a:lightRig rig="flat" dir="t"/>
          </a:scene3d>
        </p:grpSpPr>
        <p:sp>
          <p:nvSpPr>
            <p:cNvPr id="45" name="Rounded Rectangle 20"/>
            <p:cNvSpPr/>
            <p:nvPr/>
          </p:nvSpPr>
          <p:spPr>
            <a:xfrm>
              <a:off x="429368" y="1222822"/>
              <a:ext cx="1299205" cy="866137"/>
            </a:xfrm>
            <a:prstGeom prst="roundRect">
              <a:avLst>
                <a:gd name="adj" fmla="val 1000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6" name="Rounded Rectangle 4"/>
            <p:cNvSpPr/>
            <p:nvPr/>
          </p:nvSpPr>
          <p:spPr>
            <a:xfrm>
              <a:off x="454736" y="1248190"/>
              <a:ext cx="1248469" cy="8154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300" kern="1200" dirty="0" smtClean="0">
                  <a:latin typeface="Arial" pitchFamily="34" charset="0"/>
                  <a:cs typeface="Arial" pitchFamily="34" charset="0"/>
                </a:rPr>
                <a:t>CGMS satellite operators</a:t>
              </a:r>
              <a:endParaRPr lang="en-GB" sz="13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7" name="Group 4"/>
          <p:cNvGrpSpPr/>
          <p:nvPr/>
        </p:nvGrpSpPr>
        <p:grpSpPr>
          <a:xfrm>
            <a:off x="1148033" y="1593325"/>
            <a:ext cx="1298997" cy="866137"/>
            <a:chOff x="429368" y="1222822"/>
            <a:chExt cx="1299205" cy="866137"/>
          </a:xfrm>
          <a:scene3d>
            <a:camera prst="orthographicFront"/>
            <a:lightRig rig="flat" dir="t"/>
          </a:scene3d>
        </p:grpSpPr>
        <p:sp>
          <p:nvSpPr>
            <p:cNvPr id="48" name="Rounded Rectangle 5"/>
            <p:cNvSpPr/>
            <p:nvPr/>
          </p:nvSpPr>
          <p:spPr>
            <a:xfrm>
              <a:off x="429368" y="1222822"/>
              <a:ext cx="1299205" cy="866137"/>
            </a:xfrm>
            <a:prstGeom prst="roundRect">
              <a:avLst>
                <a:gd name="adj" fmla="val 1000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9" name="Rounded Rectangle 4"/>
            <p:cNvSpPr/>
            <p:nvPr/>
          </p:nvSpPr>
          <p:spPr>
            <a:xfrm>
              <a:off x="454736" y="1248190"/>
              <a:ext cx="1248469" cy="8154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300" kern="1200" dirty="0" smtClean="0">
                  <a:latin typeface="Arial" pitchFamily="34" charset="0"/>
                  <a:cs typeface="Arial" pitchFamily="34" charset="0"/>
                </a:rPr>
                <a:t>CGMS satellite operators</a:t>
              </a:r>
              <a:endParaRPr lang="en-GB" sz="13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0" name="Group 7"/>
          <p:cNvGrpSpPr/>
          <p:nvPr/>
        </p:nvGrpSpPr>
        <p:grpSpPr>
          <a:xfrm>
            <a:off x="5717549" y="1626354"/>
            <a:ext cx="1298997" cy="866137"/>
            <a:chOff x="429368" y="1222822"/>
            <a:chExt cx="1299205" cy="866137"/>
          </a:xfrm>
          <a:scene3d>
            <a:camera prst="orthographicFront"/>
            <a:lightRig rig="flat" dir="t"/>
          </a:scene3d>
        </p:grpSpPr>
        <p:sp>
          <p:nvSpPr>
            <p:cNvPr id="51" name="Rounded Rectangle 8"/>
            <p:cNvSpPr/>
            <p:nvPr/>
          </p:nvSpPr>
          <p:spPr>
            <a:xfrm>
              <a:off x="429368" y="1222822"/>
              <a:ext cx="1299205" cy="866137"/>
            </a:xfrm>
            <a:prstGeom prst="roundRect">
              <a:avLst>
                <a:gd name="adj" fmla="val 10000"/>
              </a:avLst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78" name="Rounded Rectangle 4"/>
            <p:cNvSpPr/>
            <p:nvPr/>
          </p:nvSpPr>
          <p:spPr>
            <a:xfrm>
              <a:off x="454736" y="1248190"/>
              <a:ext cx="1248469" cy="8154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300" kern="1200" dirty="0" smtClean="0">
                  <a:latin typeface="Arial" pitchFamily="34" charset="0"/>
                  <a:cs typeface="Arial" pitchFamily="34" charset="0"/>
                </a:rPr>
                <a:t>WMO</a:t>
              </a:r>
              <a:endParaRPr lang="en-GB" sz="130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79" name="Straight Arrow Connector 26"/>
          <p:cNvCxnSpPr/>
          <p:nvPr/>
        </p:nvCxnSpPr>
        <p:spPr bwMode="auto">
          <a:xfrm>
            <a:off x="3148696" y="1918372"/>
            <a:ext cx="664247" cy="28058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80" name="Straight Arrow Connector 27"/>
          <p:cNvCxnSpPr/>
          <p:nvPr/>
        </p:nvCxnSpPr>
        <p:spPr bwMode="auto">
          <a:xfrm>
            <a:off x="4145607" y="1734062"/>
            <a:ext cx="0" cy="46489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81" name="Straight Arrow Connector 35"/>
          <p:cNvCxnSpPr/>
          <p:nvPr/>
        </p:nvCxnSpPr>
        <p:spPr bwMode="auto">
          <a:xfrm flipH="1">
            <a:off x="4647956" y="1953822"/>
            <a:ext cx="454603" cy="357490"/>
          </a:xfrm>
          <a:prstGeom prst="straightConnector1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38986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609600" y="1988840"/>
            <a:ext cx="8229600" cy="172819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H" sz="5400" b="1" dirty="0" smtClean="0">
                <a:latin typeface="Arial" pitchFamily="34" charset="0"/>
                <a:cs typeface="Arial" pitchFamily="34" charset="0"/>
              </a:rPr>
              <a:t>Highlight </a:t>
            </a:r>
            <a:r>
              <a:rPr lang="fr-CH" altLang="ko-KR" sz="5400" b="1" dirty="0">
                <a:latin typeface="Arial" pitchFamily="34" charset="0"/>
                <a:cs typeface="Arial" pitchFamily="34" charset="0"/>
              </a:rPr>
              <a:t>of </a:t>
            </a:r>
            <a:r>
              <a:rPr lang="en-US" altLang="ko-KR" sz="5400" b="1" dirty="0" smtClean="0">
                <a:latin typeface="Arial" pitchFamily="34" charset="0"/>
                <a:cs typeface="Arial" pitchFamily="34" charset="0"/>
              </a:rPr>
              <a:t>GSICS</a:t>
            </a:r>
            <a:r>
              <a:rPr lang="fr-CH" altLang="ko-KR" sz="5400" b="1" dirty="0" smtClean="0">
                <a:latin typeface="Arial" pitchFamily="34" charset="0"/>
                <a:cs typeface="Arial" pitchFamily="34" charset="0"/>
              </a:rPr>
              <a:t> activities</a:t>
            </a:r>
          </a:p>
          <a:p>
            <a:pPr marL="0" indent="0" algn="ctr">
              <a:buNone/>
            </a:pPr>
            <a:endParaRPr lang="fr-CH" sz="5400" b="1" dirty="0" smtClean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algn="ctr">
              <a:buNone/>
            </a:pPr>
            <a:endParaRPr lang="fr-CH" sz="5400" b="1" dirty="0" smtClean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38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-108520" y="76201"/>
            <a:ext cx="7886700" cy="551023"/>
          </a:xfrm>
        </p:spPr>
        <p:txBody>
          <a:bodyPr/>
          <a:lstStyle/>
          <a:p>
            <a:r>
              <a:rPr lang="en-GB" altLang="ko-KR" sz="2800" b="1" dirty="0">
                <a:latin typeface="Arial" pitchFamily="34" charset="0"/>
                <a:cs typeface="Arial" pitchFamily="34" charset="0"/>
              </a:rPr>
              <a:t>IR Product Development within GSICS (IR)</a:t>
            </a:r>
            <a:endParaRPr lang="ko-KR" altLang="en-US" sz="2800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95300" y="1052736"/>
            <a:ext cx="8109148" cy="496855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GEO-LEO IR </a:t>
            </a:r>
            <a:r>
              <a:rPr lang="en-GB" sz="1800" dirty="0" err="1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hyperspectral</a:t>
            </a:r>
            <a:endParaRPr lang="en-GB" sz="18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lvl="1"/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Progress existing products to Operational Status</a:t>
            </a:r>
          </a:p>
          <a:p>
            <a:pPr lvl="1"/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Promote new products to Demonstration Status</a:t>
            </a:r>
          </a:p>
          <a:p>
            <a:pPr lvl="1"/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Application of Prime GSICS Correction concept</a:t>
            </a:r>
          </a:p>
          <a:p>
            <a:pPr lvl="2"/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o merge multiple reference instruments</a:t>
            </a:r>
          </a:p>
          <a:p>
            <a:pPr lvl="2"/>
            <a:r>
              <a:rPr lang="en-GB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o allow corrections to cover diurnal cycl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altLang="ko-KR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cope </a:t>
            </a:r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potential new GSICS products/deliverables</a:t>
            </a:r>
          </a:p>
          <a:p>
            <a:pPr lvl="1"/>
            <a:r>
              <a:rPr lang="en-US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Alternative inter-calibration algorithms</a:t>
            </a:r>
            <a:endParaRPr lang="en-GB" altLang="ko-KR" sz="18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lvl="1"/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Retrieved SRFs</a:t>
            </a:r>
          </a:p>
          <a:p>
            <a:pPr lvl="1"/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GEO-GEO inter-calibration</a:t>
            </a:r>
            <a:b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</a:br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(part  of GEO-ring)</a:t>
            </a:r>
          </a:p>
          <a:p>
            <a:pPr lvl="1"/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LEO-LEO </a:t>
            </a:r>
            <a:r>
              <a:rPr lang="en-GB" altLang="ko-KR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inter-calibration</a:t>
            </a:r>
            <a:endParaRPr lang="en-GB" altLang="ko-KR" sz="18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Traceability of Reference Instruments</a:t>
            </a:r>
          </a:p>
          <a:p>
            <a:pPr lvl="1"/>
            <a:r>
              <a:rPr lang="en-US" altLang="ko-KR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Plans for TANSO-FTS/2 &amp; </a:t>
            </a:r>
            <a:r>
              <a:rPr lang="en-US" altLang="ko-KR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CLARREO</a:t>
            </a:r>
          </a:p>
          <a:p>
            <a:pPr lvl="1"/>
            <a:r>
              <a:rPr lang="en-GB" sz="1800" dirty="0" smtClean="0">
                <a:latin typeface="Arial" pitchFamily="34" charset="0"/>
                <a:cs typeface="Arial" pitchFamily="34" charset="0"/>
              </a:rPr>
              <a:t>GSICS IR Reference Sensor Traceability and Uncertainty Report</a:t>
            </a:r>
            <a:endParaRPr lang="en-GB" altLang="ko-KR" sz="18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914400" lvl="2" indent="0">
              <a:buNone/>
            </a:pPr>
            <a:endParaRPr lang="en-GB" sz="1800" dirty="0" smtClean="0">
              <a:solidFill>
                <a:srgbClr val="FF0000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0902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-108520" y="76201"/>
            <a:ext cx="7886700" cy="551023"/>
          </a:xfrm>
        </p:spPr>
        <p:txBody>
          <a:bodyPr/>
          <a:lstStyle/>
          <a:p>
            <a:r>
              <a:rPr lang="en-US" altLang="ko-KR" b="1" dirty="0">
                <a:latin typeface="Arial" pitchFamily="34" charset="0"/>
                <a:cs typeface="Arial" pitchFamily="34" charset="0"/>
              </a:rPr>
              <a:t>DCC calibration Status (VIS/NIR) </a:t>
            </a:r>
            <a:endParaRPr lang="ko-KR" alt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5536" y="980728"/>
            <a:ext cx="8496944" cy="561662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tarted in 2014</a:t>
            </a:r>
          </a:p>
          <a:p>
            <a:pPr lvl="1"/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NASA Langley provided all GPRCs verification data to validate the proper </a:t>
            </a:r>
            <a:b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</a:b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implementation according to ATBD submitted in 2011</a:t>
            </a:r>
          </a:p>
          <a:p>
            <a:endParaRPr lang="en-US" sz="18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he </a:t>
            </a:r>
            <a:r>
              <a:rPr lang="en-US" sz="18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DCC method has been implemented by all GPRCs by 2015 </a:t>
            </a: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and reported on their status and issues of the implementation</a:t>
            </a:r>
          </a:p>
          <a:p>
            <a:endParaRPr lang="en-US" sz="18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18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he DCC methodology provides excellent estimate of the relative degradation of the monitored instrument</a:t>
            </a: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, however the GEO domain specific DCC </a:t>
            </a:r>
            <a:b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</a:b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methodology noise can be reduced by adjusting DCC methodology </a:t>
            </a:r>
            <a:r>
              <a:rPr lang="en-US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/>
            </a:r>
            <a:br>
              <a:rPr lang="en-US" sz="1800" dirty="0">
                <a:latin typeface="Arial" pitchFamily="34" charset="0"/>
                <a:ea typeface="Arial Unicode MS" pitchFamily="50" charset="-127"/>
                <a:cs typeface="Arial" pitchFamily="34" charset="0"/>
              </a:rPr>
            </a:b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components as needed</a:t>
            </a:r>
          </a:p>
          <a:p>
            <a:pPr marL="0" indent="0">
              <a:buNone/>
            </a:pP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 1) DCC BRDF</a:t>
            </a:r>
          </a:p>
          <a:p>
            <a:pPr lvl="1"/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KMA has also evaluated RTM based method developed by SNU</a:t>
            </a:r>
          </a:p>
          <a:p>
            <a:pPr lvl="1"/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CNES has defined the more </a:t>
            </a:r>
            <a:r>
              <a:rPr lang="en-US" sz="1800" dirty="0" err="1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Lambertian</a:t>
            </a: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part of the BRDF</a:t>
            </a:r>
          </a:p>
          <a:p>
            <a:pPr marL="0" indent="0">
              <a:buNone/>
            </a:pP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 2) DCC </a:t>
            </a:r>
            <a:r>
              <a:rPr lang="en-US" sz="1800" dirty="0" err="1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deseasonalization</a:t>
            </a:r>
            <a:endParaRPr lang="en-US" sz="18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lvl="1"/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NOAA, EUMETSAT, CMA have developed methods</a:t>
            </a:r>
          </a:p>
          <a:p>
            <a:pPr marL="0" indent="0">
              <a:buNone/>
            </a:pPr>
            <a:r>
              <a:rPr lang="en-US" sz="18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 3) DCC statistics and identification (to provide sufficient sampling)</a:t>
            </a:r>
          </a:p>
        </p:txBody>
      </p:sp>
    </p:spTree>
    <p:extLst>
      <p:ext uri="{BB962C8B-B14F-4D97-AF65-F5344CB8AC3E}">
        <p14:creationId xmlns:p14="http://schemas.microsoft.com/office/powerpoint/2010/main" val="253405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5496" y="76201"/>
            <a:ext cx="7886700" cy="551023"/>
          </a:xfrm>
        </p:spPr>
        <p:txBody>
          <a:bodyPr/>
          <a:lstStyle/>
          <a:p>
            <a:r>
              <a:rPr lang="en-US" altLang="ko-KR" b="1" dirty="0">
                <a:latin typeface="Arial" pitchFamily="34" charset="0"/>
                <a:cs typeface="Arial" pitchFamily="34" charset="0"/>
              </a:rPr>
              <a:t>Improving the lunar reference </a:t>
            </a:r>
            <a:endParaRPr lang="ko-KR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83568" y="1052736"/>
            <a:ext cx="8064896" cy="5393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rovement </a:t>
            </a:r>
            <a:r>
              <a:rPr lang="en-US" altLang="ko-KR" b="1" dirty="0">
                <a:latin typeface="Arial" panose="020B0604020202020204" pitchFamily="34" charset="0"/>
                <a:cs typeface="Arial" panose="020B0604020202020204" pitchFamily="34" charset="0"/>
              </a:rPr>
              <a:t>of the reference standard for lunar </a:t>
            </a:r>
            <a:r>
              <a:rPr lang="en-US" altLang="ko-KR" b="1" dirty="0" smtClean="0">
                <a:latin typeface="Arial" panose="020B0604020202020204" pitchFamily="34" charset="0"/>
                <a:cs typeface="Arial" panose="020B0604020202020204" pitchFamily="34" charset="0"/>
              </a:rPr>
              <a:t>calibration</a:t>
            </a:r>
          </a:p>
          <a:p>
            <a:pPr lvl="1">
              <a:buFont typeface="Arial Unicode MS" pitchFamily="50" charset="-127"/>
              <a:buChar char="‒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improve absolute </a:t>
            </a: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accuracy</a:t>
            </a:r>
          </a:p>
          <a:p>
            <a:pPr lvl="1">
              <a:buFont typeface="Arial Unicode MS" pitchFamily="50" charset="-127"/>
              <a:buChar char="‒"/>
            </a:pPr>
            <a:r>
              <a:rPr lang="en-US" altLang="ko-KR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to reduce residual geometry dependencies (phase, </a:t>
            </a:r>
            <a:r>
              <a:rPr lang="en-US" altLang="ko-K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ations</a:t>
            </a: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>
              <a:buFont typeface="Arial Unicode MS" pitchFamily="50" charset="-127"/>
              <a:buChar char="‒"/>
            </a:pPr>
            <a:endParaRPr lang="en-US" altLang="ko-K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The reference irradiance is generated for each observation of the Moon taken by an instrument by computing the lunar model(ROLO, GIRO)</a:t>
            </a:r>
          </a:p>
          <a:p>
            <a:pPr marL="285750" indent="-285750">
              <a:buFont typeface="Arial" pitchFamily="34" charset="0"/>
              <a:buChar char="•"/>
            </a:pPr>
            <a:endParaRPr lang="en-US" altLang="ko-K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altLang="ko-KR" b="1" dirty="0" smtClean="0">
                <a:latin typeface="Arial" panose="020B0604020202020204" pitchFamily="34" charset="0"/>
                <a:cs typeface="Arial" panose="020B0604020202020204" pitchFamily="34" charset="0"/>
              </a:rPr>
              <a:t>Requirements for Absolute Lunar Calibration Reference</a:t>
            </a:r>
          </a:p>
          <a:p>
            <a:pPr marL="742950" lvl="1" indent="-285750">
              <a:buFont typeface="Arial Unicode MS" pitchFamily="50" charset="-127"/>
              <a:buChar char="‒"/>
            </a:pP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eprocessing the ROLO telescope dataset using new algorithms</a:t>
            </a:r>
          </a:p>
          <a:p>
            <a:pPr marL="742950" lvl="1" indent="-285750">
              <a:spcAft>
                <a:spcPts val="300"/>
              </a:spcAft>
              <a:buFont typeface="Arial Unicode MS" pitchFamily="50" charset="-127"/>
              <a:buChar char="‒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incorporating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reliable new observational data e.g. PLEIADES</a:t>
            </a:r>
          </a:p>
          <a:p>
            <a:pPr marL="742950" lvl="1" indent="-285750">
              <a:buFont typeface="Arial Unicode MS" pitchFamily="50" charset="-127"/>
              <a:buChar char="‒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lunar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radiometry e.g. SNPP VIIRS</a:t>
            </a:r>
          </a:p>
          <a:p>
            <a:pPr marL="742950" lvl="1" indent="-285750">
              <a:buFont typeface="Arial Unicode MS" pitchFamily="50" charset="-127"/>
              <a:buChar char="‒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collecting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new radiometric measurements of the Moon</a:t>
            </a:r>
          </a:p>
          <a:p>
            <a:pPr marL="742950" lvl="1" indent="-285750">
              <a:buFont typeface="Arial Unicode MS" pitchFamily="50" charset="-127"/>
              <a:buChar char="‒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high-accuracy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, with traceability to SI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full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spectral coverage at moderate spectral resolution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en-US" altLang="ko-KR" dirty="0" smtClean="0">
                <a:latin typeface="Arial" panose="020B0604020202020204" pitchFamily="34" charset="0"/>
                <a:cs typeface="Arial" panose="020B0604020202020204" pitchFamily="34" charset="0"/>
              </a:rPr>
              <a:t>photometric 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geometry coverage (phase and </a:t>
            </a:r>
            <a:r>
              <a:rPr lang="en-US" altLang="ko-KR" dirty="0" err="1">
                <a:latin typeface="Arial" panose="020B0604020202020204" pitchFamily="34" charset="0"/>
                <a:cs typeface="Arial" panose="020B0604020202020204" pitchFamily="34" charset="0"/>
              </a:rPr>
              <a:t>librations</a:t>
            </a:r>
            <a:r>
              <a:rPr lang="en-US" altLang="ko-KR" dirty="0">
                <a:latin typeface="Arial" panose="020B0604020202020204" pitchFamily="34" charset="0"/>
                <a:cs typeface="Arial" panose="020B0604020202020204" pitchFamily="34" charset="0"/>
              </a:rPr>
              <a:t>) sufficient for high-precision modeling</a:t>
            </a:r>
          </a:p>
          <a:p>
            <a:pPr lvl="1"/>
            <a:endParaRPr lang="en-US" altLang="ko-K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ko-K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59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85700" y="76201"/>
            <a:ext cx="7886700" cy="551023"/>
          </a:xfrm>
        </p:spPr>
        <p:txBody>
          <a:bodyPr/>
          <a:lstStyle/>
          <a:p>
            <a:r>
              <a:rPr lang="en-US" altLang="ko-KR" b="1" dirty="0">
                <a:latin typeface="Arial" pitchFamily="34" charset="0"/>
                <a:cs typeface="Arial" pitchFamily="34" charset="0"/>
              </a:rPr>
              <a:t>Operational </a:t>
            </a:r>
            <a:r>
              <a:rPr lang="en-US" altLang="ko-KR" b="1" dirty="0" smtClean="0">
                <a:latin typeface="Arial" pitchFamily="34" charset="0"/>
                <a:cs typeface="Arial" pitchFamily="34" charset="0"/>
              </a:rPr>
              <a:t>coordination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5392690"/>
              </p:ext>
            </p:extLst>
          </p:nvPr>
        </p:nvGraphicFramePr>
        <p:xfrm>
          <a:off x="457200" y="1600200"/>
          <a:ext cx="8229600" cy="4724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직사각형 3"/>
          <p:cNvSpPr/>
          <p:nvPr/>
        </p:nvSpPr>
        <p:spPr>
          <a:xfrm>
            <a:off x="1259632" y="879684"/>
            <a:ext cx="684076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22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SICS Procedure for Product </a:t>
            </a:r>
            <a:r>
              <a:rPr lang="en-US" altLang="ko-KR" sz="22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cceptance</a:t>
            </a:r>
          </a:p>
          <a:p>
            <a:pPr algn="ctr"/>
            <a:r>
              <a:rPr lang="en-US" altLang="ko-KR" sz="16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based on QA4EO, a series of reviews over period of ~1.5yr)</a:t>
            </a:r>
            <a:endParaRPr lang="ko-KR" altLang="en-US" sz="16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530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2"/>
          <p:cNvSpPr txBox="1">
            <a:spLocks noChangeArrowheads="1"/>
          </p:cNvSpPr>
          <p:nvPr/>
        </p:nvSpPr>
        <p:spPr bwMode="auto">
          <a:xfrm>
            <a:off x="0" y="1231902"/>
            <a:ext cx="4395449" cy="474186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ts val="550"/>
              </a:spcBef>
              <a:buFont typeface="Wingdings" panose="05000000000000000000" pitchFamily="2" charset="2"/>
              <a:buChar char="v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2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SICS Bias Monitoring </a:t>
            </a:r>
          </a:p>
          <a:p>
            <a:pPr marL="550863" lvl="1" indent="-285750" latinLnBrk="0">
              <a:spcBef>
                <a:spcPts val="450"/>
              </a:spcBef>
              <a:buFont typeface="Wingdings" panose="05000000000000000000" pitchFamily="2" charset="2"/>
              <a:buChar char="ü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osted on websites of GSICS </a:t>
            </a: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cessing </a:t>
            </a: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amp; Research Centres (GPRCs</a:t>
            </a: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265113" lvl="1" indent="0">
              <a:spcBef>
                <a:spcPts val="45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  <a:hlinkClick r:id="rId3"/>
              </a:rPr>
              <a:t>http://gsics.tools.eumetsat.int/plotter/</a:t>
            </a:r>
            <a:endParaRPr lang="en-GB" sz="1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65113" lvl="1" indent="0">
              <a:spcBef>
                <a:spcPts val="450"/>
              </a:spcBef>
              <a:buFont typeface="Arial" charset="0"/>
              <a:buChar char="–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endParaRPr lang="en-GB" sz="1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spcBef>
                <a:spcPts val="550"/>
              </a:spcBef>
              <a:buFont typeface="Wingdings" panose="05000000000000000000" pitchFamily="2" charset="2"/>
              <a:buChar char="v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2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SICS </a:t>
            </a:r>
            <a:r>
              <a:rPr lang="en-GB" sz="2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rrections</a:t>
            </a:r>
          </a:p>
          <a:p>
            <a:pPr marL="265113" lvl="1" indent="0">
              <a:spcBef>
                <a:spcPts val="45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− GSICS </a:t>
            </a: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ta &amp; Products Servers</a:t>
            </a:r>
          </a:p>
          <a:p>
            <a:pPr marL="265113" lvl="1" indent="0">
              <a:spcBef>
                <a:spcPts val="45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− THREDDS-based </a:t>
            </a: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stem</a:t>
            </a:r>
          </a:p>
          <a:p>
            <a:pPr marL="266700" lvl="1" indent="0">
              <a:spcBef>
                <a:spcPts val="450"/>
              </a:spcBef>
              <a:buClrTx/>
              <a:buFontTx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− </a:t>
            </a:r>
            <a:r>
              <a:rPr lang="en-GB" sz="1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tCDF</a:t>
            </a: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format</a:t>
            </a:r>
          </a:p>
          <a:p>
            <a:pPr marL="266700" lvl="1" indent="0">
              <a:spcBef>
                <a:spcPts val="450"/>
              </a:spcBef>
              <a:buClrTx/>
              <a:buFontTx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− WMO GTS standard file names</a:t>
            </a:r>
          </a:p>
          <a:p>
            <a:pPr marL="265113" lvl="1" indent="0">
              <a:spcBef>
                <a:spcPts val="45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− </a:t>
            </a:r>
            <a:r>
              <a:rPr lang="en-GB" sz="1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idata</a:t>
            </a:r>
            <a:r>
              <a:rPr lang="en-GB" sz="1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&amp; CF </a:t>
            </a:r>
            <a:r>
              <a:rPr lang="en-GB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ventions</a:t>
            </a:r>
            <a:endParaRPr lang="en-GB" sz="2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65113" lvl="1" indent="0" eaLnBrk="0" hangingPunct="0">
              <a:spcBef>
                <a:spcPts val="50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endParaRPr lang="en-GB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65113" lvl="1" indent="0" eaLnBrk="0" hangingPunct="0">
              <a:spcBef>
                <a:spcPts val="500"/>
              </a:spcBef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en-GB" sz="2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ee </a:t>
            </a:r>
            <a:r>
              <a:rPr lang="en-GB" sz="2000" dirty="0">
                <a:solidFill>
                  <a:srgbClr val="0000FF"/>
                </a:solidFill>
                <a:latin typeface="Arial" pitchFamily="34" charset="0"/>
                <a:cs typeface="Arial" pitchFamily="34" charset="0"/>
                <a:hlinkClick r:id="rId4"/>
              </a:rPr>
              <a:t>gsics.wmo.int</a:t>
            </a:r>
            <a:r>
              <a:rPr lang="en-GB" sz="2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for links</a:t>
            </a:r>
          </a:p>
          <a:p>
            <a:pPr marL="265113" lvl="1" indent="0" eaLnBrk="0" hangingPunct="0">
              <a:spcBef>
                <a:spcPts val="500"/>
              </a:spcBef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endParaRPr lang="en-GB" sz="2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5" cstate="print"/>
          <a:srcRect l="10196" t="11438" r="10017" b="37657"/>
          <a:stretch>
            <a:fillRect/>
          </a:stretch>
        </p:blipFill>
        <p:spPr bwMode="auto">
          <a:xfrm>
            <a:off x="4395448" y="6352"/>
            <a:ext cx="4747086" cy="305117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49689" y="2751140"/>
            <a:ext cx="4817412" cy="336867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7" cstate="print"/>
          <a:srcRect r="10284" b="20001"/>
          <a:stretch>
            <a:fillRect/>
          </a:stretch>
        </p:blipFill>
        <p:spPr bwMode="auto">
          <a:xfrm>
            <a:off x="5180769" y="3746500"/>
            <a:ext cx="3961765" cy="311150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18438" name="Text Box 6"/>
          <p:cNvSpPr txBox="1">
            <a:spLocks noChangeArrowheads="1"/>
          </p:cNvSpPr>
          <p:nvPr/>
        </p:nvSpPr>
        <p:spPr bwMode="auto">
          <a:xfrm>
            <a:off x="427649" y="6093296"/>
            <a:ext cx="3352263" cy="494624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300" b="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GTS = Global Telecommunication System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300" b="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F = Climate and Forecast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07504" y="76201"/>
            <a:ext cx="7886700" cy="551023"/>
          </a:xfrm>
        </p:spPr>
        <p:txBody>
          <a:bodyPr/>
          <a:lstStyle/>
          <a:p>
            <a:pPr algn="l"/>
            <a:r>
              <a:rPr lang="en-GB" altLang="ko-KR" sz="3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here to get the data</a:t>
            </a:r>
            <a:r>
              <a:rPr lang="en-GB" altLang="ko-KR" sz="3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?</a:t>
            </a:r>
            <a:endParaRPr lang="ko-KR" altLang="en-US" sz="32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912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2"/>
          <p:cNvSpPr txBox="1">
            <a:spLocks noChangeArrowheads="1"/>
          </p:cNvSpPr>
          <p:nvPr/>
        </p:nvSpPr>
        <p:spPr bwMode="auto">
          <a:xfrm>
            <a:off x="251520" y="980728"/>
            <a:ext cx="8712968" cy="504056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/>
          <a:lstStyle/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SICS is maturing into a system for generating inter-calibration products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itable for integrating into operational processing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rst products have been declared operational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tinuing to develop new inter-calibration products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hile cooperating with related activities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integrate GSICS into WIGOS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IE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support Architecture for Climate Monitoring from Space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day: Examples of potential future activities &amp; interactions</a:t>
            </a:r>
          </a:p>
          <a:p>
            <a:pPr marL="342900" indent="-342900" latinLnBrk="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t of the Week: Focus on development of GSICS deliverables</a:t>
            </a:r>
            <a:endParaRPr lang="en-GB" sz="2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clusions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4688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609600" y="2132857"/>
            <a:ext cx="8229600" cy="172819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H" altLang="ko-KR" sz="5400" b="1" dirty="0" smtClean="0">
                <a:latin typeface="Arial" pitchFamily="34" charset="0"/>
                <a:cs typeface="Arial" pitchFamily="34" charset="0"/>
              </a:rPr>
              <a:t>Mini Conference</a:t>
            </a:r>
          </a:p>
          <a:p>
            <a:pPr marL="0" indent="0" algn="ctr">
              <a:buNone/>
            </a:pPr>
            <a:endParaRPr lang="fr-CH" sz="5400" b="1" dirty="0" smtClean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 algn="ctr">
              <a:buNone/>
            </a:pPr>
            <a:endParaRPr lang="fr-CH" sz="5400" b="1" dirty="0" smtClean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387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51406"/>
              </p:ext>
            </p:extLst>
          </p:nvPr>
        </p:nvGraphicFramePr>
        <p:xfrm>
          <a:off x="0" y="332656"/>
          <a:ext cx="9144000" cy="5544612"/>
        </p:xfrm>
        <a:graphic>
          <a:graphicData uri="http://schemas.openxmlformats.org/drawingml/2006/table">
            <a:tbl>
              <a:tblPr/>
              <a:tblGrid>
                <a:gridCol w="772014"/>
                <a:gridCol w="1976041"/>
                <a:gridCol w="863674"/>
                <a:gridCol w="4795238"/>
                <a:gridCol w="332184"/>
                <a:gridCol w="404849"/>
              </a:tblGrid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effectLst/>
                          <a:latin typeface="Arial"/>
                        </a:rPr>
                        <a:t>Mon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effectLst/>
                          <a:latin typeface="Arial"/>
                        </a:rPr>
                        <a:t>Mini Conferen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effectLst/>
                          <a:latin typeface="Arial"/>
                        </a:rPr>
                        <a:t>Chair: Philippe Goryl, Minutes: XXX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8: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effectLst/>
                          <a:latin typeface="Arial"/>
                        </a:rPr>
                        <a:t>Coffee and Registr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8: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Mitch Goldber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NOA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GSIC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: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4919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8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hilippe Goryl and Nicolaus Hanowsk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lcome addres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: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8: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uqing (Scott) H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M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troduction to Mini Conference &amp; GSIC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: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8: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erome Bouff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gistics inform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: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9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Henri Lau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 EO Programm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9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Pascal Lecom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 CCI (Climate Change Initiative) Programm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4919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9: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Xiangqian (Fred) W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NOA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GOES-16/-17 ABI Calibration Performance and Updat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f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hilippe Gory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iducial Reference Measurements Concep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g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: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3093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0: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Jonas Von Bismarc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Aeolus Mission Stat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0: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>
                          <a:effectLst/>
                          <a:latin typeface="Arial"/>
                        </a:rPr>
                        <a:t>Coffee brea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zh-CN" altLang="en-US" sz="14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1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>
                          <a:effectLst/>
                          <a:latin typeface="Arial"/>
                        </a:rPr>
                        <a:t>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4919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: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Jerome Bouffar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S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Toward FCDR and uncertainties information for Altimetr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j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1: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Stefan Adriaense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VI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Lunar Calibration Updat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491948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2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Bill Be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CMWF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ECMWF Copernicus Activities Related to Inter-calibra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0: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EF4"/>
                    </a:solidFill>
                  </a:tcPr>
                </a:tc>
              </a:tr>
              <a:tr h="2513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>
                          <a:effectLst/>
                          <a:latin typeface="Arial"/>
                        </a:rPr>
                        <a:t>12: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Nigel Fox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NP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effectLst/>
                          <a:latin typeface="Arial"/>
                        </a:rPr>
                        <a:t>Quality Assurance for EO and CEOS Activiti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effectLst/>
                          <a:latin typeface="Arial"/>
                        </a:rPr>
                        <a:t>1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effectLst/>
                          <a:latin typeface="Arial"/>
                        </a:rPr>
                        <a:t>0: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485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1BB9BA-0FE8-4E7C-9CA9-497E72D2E661}" type="slidenum">
              <a:rPr lang="ko-KR" altLang="en-US" smtClean="0"/>
              <a:pPr>
                <a:defRPr/>
              </a:pPr>
              <a:t>2</a:t>
            </a:fld>
            <a:endParaRPr lang="ko-KR" alt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39552" y="2636912"/>
            <a:ext cx="8229600" cy="8640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5400" b="1" dirty="0" smtClean="0">
                <a:latin typeface="Arial" pitchFamily="34" charset="0"/>
                <a:cs typeface="Arial" pitchFamily="34" charset="0"/>
              </a:rPr>
              <a:t>Overview of GSICS</a:t>
            </a:r>
          </a:p>
        </p:txBody>
      </p:sp>
    </p:spTree>
    <p:extLst>
      <p:ext uri="{BB962C8B-B14F-4D97-AF65-F5344CB8AC3E}">
        <p14:creationId xmlns:p14="http://schemas.microsoft.com/office/powerpoint/2010/main" val="80779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2"/>
          <p:cNvSpPr txBox="1">
            <a:spLocks noChangeArrowheads="1"/>
          </p:cNvSpPr>
          <p:nvPr/>
        </p:nvSpPr>
        <p:spPr bwMode="auto">
          <a:xfrm>
            <a:off x="457128" y="1207293"/>
            <a:ext cx="8237072" cy="452596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ease follow file naming convention:</a:t>
            </a:r>
            <a:b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a_Hewison_Introduction.pptx/</a:t>
            </a:r>
            <a:r>
              <a:rPr lang="en-GB" sz="2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df</a:t>
            </a: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GB" sz="2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pt</a:t>
            </a:r>
            <a:endParaRPr lang="en-GB" sz="2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sentations will be uploaded to the GSICS Wiki</a:t>
            </a:r>
          </a:p>
          <a:p>
            <a:pPr marL="800100" lvl="1" indent="-342900">
              <a:spcBef>
                <a:spcPts val="450"/>
              </a:spcBef>
              <a:buFont typeface="Wingdings" panose="05000000000000000000" pitchFamily="2" charset="2"/>
              <a:buChar char="ü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less you tell me not to</a:t>
            </a:r>
          </a:p>
          <a:p>
            <a:pPr marL="342900" indent="-34290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l slots are strictly 20min</a:t>
            </a:r>
          </a:p>
          <a:p>
            <a:pPr marL="342900" indent="-34290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ease leave at least 5min for questions</a:t>
            </a:r>
          </a:p>
          <a:p>
            <a:pPr marL="342900" indent="-342900">
              <a:spcBef>
                <a:spcPts val="450"/>
              </a:spcBef>
              <a:buFont typeface="Wingdings" panose="05000000000000000000" pitchFamily="2" charset="2"/>
              <a:buChar char="v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chair will give a warning after 13min</a:t>
            </a:r>
          </a:p>
        </p:txBody>
      </p:sp>
      <p:pic>
        <p:nvPicPr>
          <p:cNvPr id="2050" name="Picture 2" descr="http://icons.iconarchive.com/icons/cemagraphics/classic-cars/512/bmw-mini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8756" y="4503762"/>
            <a:ext cx="1500366" cy="1625397"/>
          </a:xfrm>
          <a:prstGeom prst="rect">
            <a:avLst/>
          </a:prstGeom>
          <a:noFill/>
        </p:spPr>
      </p:pic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5807647" y="6045959"/>
            <a:ext cx="1902288" cy="604839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/>
          <a:lstStyle/>
          <a:p>
            <a:pPr marL="341313" indent="-341313">
              <a:spcBef>
                <a:spcPts val="45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GB" sz="2400" dirty="0" smtClean="0">
                <a:solidFill>
                  <a:srgbClr val="000000"/>
                </a:solidFill>
                <a:latin typeface="Calibri" pitchFamily="32" charset="0"/>
              </a:rPr>
              <a:t>Thank you!</a:t>
            </a: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s to </a:t>
            </a:r>
            <a:r>
              <a:rPr lang="en-US" altLang="ko-KR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eakers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21945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beepbeep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23728" y="2420888"/>
            <a:ext cx="50405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5400" b="1" dirty="0" smtClean="0">
                <a:latin typeface="Arial" pitchFamily="34" charset="0"/>
                <a:cs typeface="Arial" pitchFamily="34" charset="0"/>
              </a:rPr>
              <a:t>Thank you!</a:t>
            </a:r>
            <a:endParaRPr lang="ko-KR" altLang="en-US" sz="5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6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 smtClean="0">
                <a:latin typeface="Arial" pitchFamily="34" charset="0"/>
                <a:cs typeface="Arial" pitchFamily="34" charset="0"/>
              </a:rPr>
              <a:t>Background of GSICS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395536" y="908720"/>
            <a:ext cx="763284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The Global Space-based Inter-Calibration System (GSICS) :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initiated in 2005 by </a:t>
            </a:r>
            <a:r>
              <a:rPr lang="en-US" altLang="ko-KR" dirty="0">
                <a:solidFill>
                  <a:srgbClr val="0070C0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the WMO and the </a:t>
            </a:r>
            <a:r>
              <a:rPr lang="en-US" altLang="ko-KR" dirty="0" smtClean="0">
                <a:solidFill>
                  <a:srgbClr val="0070C0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GMS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w</a:t>
            </a:r>
            <a:r>
              <a:rPr lang="en-US" altLang="ko-KR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as recognized in 2009-2011 as a Pilot Project in the Demonstration Phase of the WMO Integrated Global Observing System(WIGOS) </a:t>
            </a:r>
            <a:endParaRPr lang="ko-KR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모서리가 둥근 직사각형 3"/>
          <p:cNvSpPr/>
          <p:nvPr/>
        </p:nvSpPr>
        <p:spPr bwMode="auto">
          <a:xfrm>
            <a:off x="632737" y="3075928"/>
            <a:ext cx="2269506" cy="172122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" name="모서리가 둥근 직사각형 4"/>
          <p:cNvSpPr/>
          <p:nvPr/>
        </p:nvSpPr>
        <p:spPr bwMode="auto">
          <a:xfrm>
            <a:off x="2953048" y="3075928"/>
            <a:ext cx="1503314" cy="1721224"/>
          </a:xfrm>
          <a:prstGeom prst="roundRect">
            <a:avLst/>
          </a:prstGeom>
          <a:solidFill>
            <a:srgbClr val="F35B07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6" name="모서리가 둥근 직사각형 5"/>
          <p:cNvSpPr/>
          <p:nvPr/>
        </p:nvSpPr>
        <p:spPr bwMode="auto">
          <a:xfrm>
            <a:off x="4520952" y="3075928"/>
            <a:ext cx="1600448" cy="172122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60700" y="4311098"/>
            <a:ext cx="7441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Arial" pitchFamily="34" charset="0"/>
                <a:ea typeface="맑은 고딕" pitchFamily="50" charset="-127"/>
                <a:cs typeface="Arial" pitchFamily="34" charset="0"/>
              </a:rPr>
              <a:t>GSICS</a:t>
            </a:r>
          </a:p>
        </p:txBody>
      </p:sp>
      <p:sp>
        <p:nvSpPr>
          <p:cNvPr id="8" name="줄무늬가 있는 오른쪽 화살표 7"/>
          <p:cNvSpPr/>
          <p:nvPr/>
        </p:nvSpPr>
        <p:spPr bwMode="auto">
          <a:xfrm>
            <a:off x="1792362" y="3261901"/>
            <a:ext cx="5775346" cy="827075"/>
          </a:xfrm>
          <a:prstGeom prst="stripedRightArrow">
            <a:avLst>
              <a:gd name="adj1" fmla="val 54607"/>
              <a:gd name="adj2" fmla="val 187342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58991" y="4311098"/>
            <a:ext cx="1152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Arial" pitchFamily="34" charset="0"/>
                <a:ea typeface="맑은 고딕" pitchFamily="50" charset="-127"/>
                <a:cs typeface="Arial" pitchFamily="34" charset="0"/>
              </a:rPr>
              <a:t>SCOPE-CM</a:t>
            </a:r>
          </a:p>
        </p:txBody>
      </p:sp>
      <p:sp>
        <p:nvSpPr>
          <p:cNvPr id="10" name="직사각형 9"/>
          <p:cNvSpPr/>
          <p:nvPr/>
        </p:nvSpPr>
        <p:spPr bwMode="auto">
          <a:xfrm>
            <a:off x="2322978" y="3271971"/>
            <a:ext cx="1260140" cy="81206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atellite</a:t>
            </a: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Data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3907154" y="3271971"/>
            <a:ext cx="1260140" cy="81206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400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Consistent</a:t>
            </a: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맑은 고딕" pitchFamily="50" charset="-127"/>
                <a:cs typeface="Arial" pitchFamily="34" charset="0"/>
              </a:rPr>
              <a:t>Calibrated</a:t>
            </a: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sz="1400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observations</a:t>
            </a:r>
            <a:endParaRPr kumimoji="1" lang="ko-KR" alt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5491330" y="3271971"/>
            <a:ext cx="1260140" cy="81206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E</a:t>
            </a:r>
            <a:r>
              <a:rPr kumimoji="1" lang="en-US" altLang="ko-KR" sz="1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sential</a:t>
            </a: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rgbClr val="FF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C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limate</a:t>
            </a:r>
            <a:endParaRPr kumimoji="1" lang="en-US" altLang="ko-K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rgbClr val="FF0000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V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ariable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3" name="순서도: 수행의 시작/종료 12"/>
          <p:cNvSpPr/>
          <p:nvPr/>
        </p:nvSpPr>
        <p:spPr bwMode="auto">
          <a:xfrm>
            <a:off x="7255526" y="3404261"/>
            <a:ext cx="1585906" cy="547489"/>
          </a:xfrm>
          <a:prstGeom prst="flowChartTerminator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맑은 고딕" pitchFamily="50" charset="-127"/>
                <a:cs typeface="Arial" pitchFamily="34" charset="0"/>
              </a:rPr>
              <a:t>User &amp;</a:t>
            </a:r>
            <a:r>
              <a:rPr kumimoji="1" lang="en-US" altLang="ko-KR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맑은 고딕" pitchFamily="50" charset="-127"/>
                <a:cs typeface="Arial" pitchFamily="34" charset="0"/>
              </a:rPr>
              <a:t> </a:t>
            </a:r>
          </a:p>
          <a:p>
            <a:pPr marL="0" marR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맑은 고딕" pitchFamily="50" charset="-127"/>
                <a:cs typeface="Arial" pitchFamily="34" charset="0"/>
              </a:rPr>
              <a:t>Organizations</a:t>
            </a:r>
            <a:endParaRPr kumimoji="1" lang="ko-KR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738802" y="3271971"/>
            <a:ext cx="1260140" cy="812069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atellites</a:t>
            </a:r>
          </a:p>
          <a:p>
            <a:pPr marL="0" marR="0" indent="0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&amp; Sensors</a:t>
            </a:r>
            <a:endParaRPr kumimoji="1" lang="ko-KR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95541" y="4311098"/>
            <a:ext cx="7136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400" b="1" dirty="0" smtClean="0">
                <a:latin typeface="Arial" pitchFamily="34" charset="0"/>
                <a:ea typeface="맑은 고딕" pitchFamily="50" charset="-127"/>
                <a:cs typeface="Arial" pitchFamily="34" charset="0"/>
              </a:rPr>
              <a:t>GCOS</a:t>
            </a:r>
          </a:p>
        </p:txBody>
      </p:sp>
    </p:spTree>
    <p:extLst>
      <p:ext uri="{BB962C8B-B14F-4D97-AF65-F5344CB8AC3E}">
        <p14:creationId xmlns:p14="http://schemas.microsoft.com/office/powerpoint/2010/main" val="290386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 smtClean="0">
                <a:latin typeface="Arial" pitchFamily="34" charset="0"/>
                <a:cs typeface="Arial" pitchFamily="34" charset="0"/>
              </a:rPr>
              <a:t>GSICS?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52040" y="934461"/>
            <a:ext cx="8396424" cy="1486427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>
            <a:noAutofit/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pace-based observations from various satellite missions must be </a:t>
            </a:r>
            <a:r>
              <a:rPr lang="en-US" sz="16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precisely calibrated with similar methods against common references</a:t>
            </a:r>
            <a:r>
              <a:rPr lang="en-US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  </a:t>
            </a:r>
          </a:p>
          <a:p>
            <a:pPr latinLnBrk="0">
              <a:buFont typeface="Wingdings" pitchFamily="2" charset="2"/>
              <a:buChar char="§"/>
            </a:pPr>
            <a:r>
              <a:rPr lang="en-US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Poor or inhomogeneous calibration results in degraded performance and lower benefits</a:t>
            </a:r>
          </a:p>
          <a:p>
            <a:pPr latinLnBrk="0">
              <a:buFont typeface="Wingdings" pitchFamily="2" charset="2"/>
              <a:buChar char="§"/>
            </a:pPr>
            <a:r>
              <a:rPr lang="en-US" sz="1600" b="1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CGMS members are collaborating within GSICS to develop and apply </a:t>
            </a:r>
            <a:br>
              <a:rPr lang="en-US" sz="1600" b="1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</a:br>
            <a:r>
              <a:rPr lang="en-US" sz="1600" b="1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“best practices” for homogeneous calibration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217836" y="2709497"/>
            <a:ext cx="4282156" cy="4031873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ensures </a:t>
            </a:r>
            <a:r>
              <a:rPr lang="en-US" altLang="ko-KR" sz="1600" dirty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onsistent calibration of satellite </a:t>
            </a:r>
            <a:r>
              <a:rPr lang="en-US" altLang="ko-KR" sz="1600" dirty="0" smtClean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easurements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and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tie </a:t>
            </a:r>
            <a:r>
              <a:rPr lang="en-US" altLang="ko-KR" sz="1600" dirty="0" smtClean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the measurements </a:t>
            </a:r>
            <a:r>
              <a:rPr lang="en-US" altLang="ko-KR" sz="1600" dirty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to SI </a:t>
            </a:r>
            <a:r>
              <a:rPr lang="en-US" altLang="ko-KR" sz="1600" dirty="0" smtClean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reference standards</a:t>
            </a:r>
            <a:endParaRPr lang="en-US" altLang="ko-KR" sz="16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defines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and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implements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procedures for operational, in-orbit satellite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inter-calibration; </a:t>
            </a:r>
            <a:endParaRPr lang="en-US" altLang="ko-KR" sz="16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relates </a:t>
            </a:r>
            <a:r>
              <a:rPr lang="en-US" altLang="ko-KR" sz="1600" dirty="0" smtClean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the measurements </a:t>
            </a:r>
            <a:r>
              <a:rPr lang="en-US" altLang="ko-KR" sz="1600" dirty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of one instrument to those of a </a:t>
            </a:r>
            <a:r>
              <a:rPr lang="en-US" altLang="ko-KR" sz="1600" dirty="0" smtClean="0">
                <a:solidFill>
                  <a:schemeClr val="accent2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reference instrument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with a stated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uncertainty.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altLang="ko-KR" sz="16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he </a:t>
            </a:r>
            <a:r>
              <a:rPr lang="en-US" altLang="ko-KR" sz="1600" u="sng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overlapping records of two </a:t>
            </a:r>
            <a:r>
              <a:rPr lang="en-US" altLang="ko-KR" sz="16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atellite instruments </a:t>
            </a:r>
            <a:r>
              <a:rPr lang="en-US" altLang="ko-KR" sz="1600" u="sng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can be compared once a number of </a:t>
            </a:r>
            <a:r>
              <a:rPr lang="en-US" altLang="ko-KR" sz="1600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effects, such </a:t>
            </a:r>
            <a:r>
              <a:rPr lang="en-US" altLang="ko-KR" sz="1600" u="sng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as diurnal cycle, are taken into account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. </a:t>
            </a:r>
            <a:endParaRPr lang="en-US" altLang="ko-KR" sz="16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GSICS inter-calibration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allows biases to be removed among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atellite </a:t>
            </a:r>
            <a:r>
              <a: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measurements. </a:t>
            </a:r>
          </a:p>
        </p:txBody>
      </p:sp>
      <p:sp>
        <p:nvSpPr>
          <p:cNvPr id="7" name="矩形 5"/>
          <p:cNvSpPr/>
          <p:nvPr/>
        </p:nvSpPr>
        <p:spPr>
          <a:xfrm>
            <a:off x="4572000" y="2708921"/>
            <a:ext cx="4248472" cy="4031873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latinLnBrk="0">
              <a:buFont typeface="Wingdings" pitchFamily="2" charset="2"/>
              <a:buChar char="§"/>
            </a:pPr>
            <a:r>
              <a:rPr lang="en-US" altLang="zh-CN" sz="1600" u="sng" dirty="0" smtClean="0">
                <a:latin typeface="Arial" pitchFamily="34" charset="0"/>
                <a:cs typeface="Arial" pitchFamily="34" charset="0"/>
              </a:rPr>
              <a:t>coordinates the </a:t>
            </a:r>
            <a:r>
              <a:rPr lang="en-US" altLang="zh-CN" sz="1600" u="sng" dirty="0">
                <a:latin typeface="Arial" pitchFamily="34" charset="0"/>
                <a:cs typeface="Arial" pitchFamily="34" charset="0"/>
              </a:rPr>
              <a:t>systematic generation </a:t>
            </a:r>
            <a:r>
              <a:rPr lang="en-US" altLang="zh-CN" sz="1600" u="sng" dirty="0" smtClean="0">
                <a:latin typeface="Arial" pitchFamily="34" charset="0"/>
                <a:cs typeface="Arial" pitchFamily="34" charset="0"/>
              </a:rPr>
              <a:t>to </a:t>
            </a:r>
            <a:r>
              <a:rPr lang="en-US" altLang="zh-CN" sz="1600" u="sng" dirty="0">
                <a:latin typeface="Arial" pitchFamily="34" charset="0"/>
                <a:cs typeface="Arial" pitchFamily="34" charset="0"/>
              </a:rPr>
              <a:t>correct </a:t>
            </a:r>
            <a:r>
              <a:rPr lang="en-US" altLang="zh-CN" sz="1600" u="sng" dirty="0" smtClean="0">
                <a:latin typeface="Arial" pitchFamily="34" charset="0"/>
                <a:cs typeface="Arial" pitchFamily="34" charset="0"/>
              </a:rPr>
              <a:t>the </a:t>
            </a:r>
            <a:r>
              <a:rPr lang="en-US" altLang="zh-CN" sz="1600" u="sng" dirty="0">
                <a:latin typeface="Arial" pitchFamily="34" charset="0"/>
                <a:cs typeface="Arial" pitchFamily="34" charset="0"/>
              </a:rPr>
              <a:t>individual </a:t>
            </a:r>
            <a:r>
              <a:rPr lang="en-US" altLang="zh-CN" sz="1600" u="sng" dirty="0" smtClean="0">
                <a:latin typeface="Arial" pitchFamily="34" charset="0"/>
                <a:cs typeface="Arial" pitchFamily="34" charset="0"/>
              </a:rPr>
              <a:t>calibration(Level 1)</a:t>
            </a:r>
          </a:p>
          <a:p>
            <a:pPr marL="342900" indent="-342900" latinLnBrk="0">
              <a:buFont typeface="Wingdings" pitchFamily="2" charset="2"/>
              <a:buChar char="§"/>
            </a:pP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range of activities related to:</a:t>
            </a: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Instrument Level 1 data monitoring</a:t>
            </a: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comparison with references </a:t>
            </a: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routine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generation of 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corrections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in near real-time</a:t>
            </a: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p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rovision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of algorithms enabling recalibration of archived 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data</a:t>
            </a:r>
            <a:endParaRPr lang="en-US" altLang="zh-CN" sz="1600" dirty="0">
              <a:latin typeface="Arial" pitchFamily="34" charset="0"/>
              <a:cs typeface="Arial" pitchFamily="34" charset="0"/>
            </a:endParaRP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traceability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to absolute calibration 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standards</a:t>
            </a:r>
            <a:endParaRPr lang="en-US" altLang="zh-CN" sz="1600" dirty="0">
              <a:latin typeface="Arial" pitchFamily="34" charset="0"/>
              <a:cs typeface="Arial" pitchFamily="34" charset="0"/>
            </a:endParaRP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p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relaunch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instrument 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characterization</a:t>
            </a:r>
            <a:endParaRPr lang="en-US" altLang="zh-CN" sz="1600" dirty="0">
              <a:latin typeface="Arial" pitchFamily="34" charset="0"/>
              <a:cs typeface="Arial" pitchFamily="34" charset="0"/>
            </a:endParaRP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p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ost-launch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instrument validation </a:t>
            </a:r>
          </a:p>
          <a:p>
            <a:pPr marL="742950" lvl="1" indent="-285750" latinLnBrk="0">
              <a:buFont typeface="Arial Unicode MS" pitchFamily="50" charset="-127"/>
              <a:buChar char="‒"/>
            </a:pP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documentation </a:t>
            </a:r>
            <a:r>
              <a:rPr lang="en-US" altLang="zh-CN" sz="1600" dirty="0">
                <a:latin typeface="Arial" pitchFamily="34" charset="0"/>
                <a:cs typeface="Arial" pitchFamily="34" charset="0"/>
              </a:rPr>
              <a:t>on state-of-the-art calibration </a:t>
            </a:r>
            <a:r>
              <a:rPr lang="en-US" altLang="zh-CN" sz="1600" dirty="0" smtClean="0">
                <a:latin typeface="Arial" pitchFamily="34" charset="0"/>
                <a:cs typeface="Arial" pitchFamily="34" charset="0"/>
              </a:rPr>
              <a:t>techniques</a:t>
            </a:r>
            <a:endParaRPr lang="zh-CN" alt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모서리가 둥근 직사각형 2"/>
          <p:cNvSpPr/>
          <p:nvPr/>
        </p:nvSpPr>
        <p:spPr>
          <a:xfrm>
            <a:off x="3203848" y="718437"/>
            <a:ext cx="2016224" cy="3342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hy GSICS?</a:t>
            </a:r>
            <a:endParaRPr lang="ko-KR" altLang="en-US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1043608" y="2446629"/>
            <a:ext cx="2448272" cy="3342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hat is GSICS?</a:t>
            </a:r>
            <a:endParaRPr lang="ko-KR" altLang="en-US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5364088" y="2446629"/>
            <a:ext cx="2448272" cy="334299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cope of GSICS?</a:t>
            </a:r>
            <a:endParaRPr lang="ko-KR" altLang="en-US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473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Who benefits from GSICS ?</a:t>
            </a:r>
            <a:endParaRPr lang="ko-KR" altLang="en-US" b="1" dirty="0"/>
          </a:p>
        </p:txBody>
      </p:sp>
      <p:sp>
        <p:nvSpPr>
          <p:cNvPr id="3" name="矩形 6"/>
          <p:cNvSpPr/>
          <p:nvPr/>
        </p:nvSpPr>
        <p:spPr>
          <a:xfrm>
            <a:off x="107504" y="836712"/>
            <a:ext cx="4536504" cy="4939814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altLang="zh-CN" b="1" dirty="0" smtClean="0">
                <a:latin typeface="Arial" pitchFamily="34" charset="0"/>
                <a:cs typeface="Arial" pitchFamily="34" charset="0"/>
              </a:rPr>
              <a:t>Satellite operators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Sharing development effort and resources (calibration references, </a:t>
            </a:r>
            <a:br>
              <a:rPr lang="en-GB" altLang="zh-CN" sz="1600" dirty="0" smtClean="0">
                <a:latin typeface="Arial" pitchFamily="34" charset="0"/>
                <a:cs typeface="Arial" pitchFamily="34" charset="0"/>
              </a:rPr>
            </a:b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datasets, software tools) 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Capacity building (best practices for instrument monitoring, traceability, </a:t>
            </a:r>
            <a:br>
              <a:rPr lang="en-GB" altLang="zh-CN" sz="1600" dirty="0" smtClean="0">
                <a:latin typeface="Arial" pitchFamily="34" charset="0"/>
                <a:cs typeface="Arial" pitchFamily="34" charset="0"/>
              </a:rPr>
            </a:b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sensor comparison and correction)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Improved instrument assessment, faster identification and correction of </a:t>
            </a:r>
            <a:br>
              <a:rPr lang="en-GB" sz="1600" dirty="0" smtClean="0">
                <a:latin typeface="Arial" pitchFamily="34" charset="0"/>
                <a:cs typeface="Arial" pitchFamily="34" charset="0"/>
              </a:rPr>
            </a:br>
            <a:r>
              <a:rPr lang="en-GB" sz="1600" dirty="0" smtClean="0">
                <a:latin typeface="Arial" pitchFamily="34" charset="0"/>
                <a:cs typeface="Arial" pitchFamily="34" charset="0"/>
              </a:rPr>
              <a:t>anomalies, facilitating commissioning and operation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Interoperability within the CGMS constellation</a:t>
            </a:r>
          </a:p>
        </p:txBody>
      </p:sp>
      <p:sp>
        <p:nvSpPr>
          <p:cNvPr id="4" name="矩形 6"/>
          <p:cNvSpPr/>
          <p:nvPr/>
        </p:nvSpPr>
        <p:spPr>
          <a:xfrm>
            <a:off x="4716016" y="836712"/>
            <a:ext cx="4104456" cy="4939814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latinLnBrk="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altLang="zh-CN" b="1" dirty="0" smtClean="0">
                <a:latin typeface="Arial" pitchFamily="34" charset="0"/>
                <a:cs typeface="Arial" pitchFamily="34" charset="0"/>
              </a:rPr>
              <a:t>Satellite data users</a:t>
            </a:r>
            <a:endParaRPr lang="en-GB" altLang="zh-CN" dirty="0" smtClean="0">
              <a:latin typeface="Arial" pitchFamily="34" charset="0"/>
              <a:cs typeface="Arial" pitchFamily="34" charset="0"/>
            </a:endParaRP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Improved calibration 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Interoperability through inter-calibration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Assessments, reports, for better understanding 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Algorithms enabling to reprocess data records</a:t>
            </a:r>
          </a:p>
          <a:p>
            <a:pPr marL="800100" lvl="1" indent="-342900" latinLnBrk="0">
              <a:lnSpc>
                <a:spcPct val="150000"/>
              </a:lnSpc>
              <a:buFont typeface="Arial Unicode MS" pitchFamily="50" charset="-127"/>
              <a:buChar char="‒"/>
            </a:pPr>
            <a:r>
              <a:rPr lang="en-GB" altLang="zh-CN" sz="1600" dirty="0" smtClean="0">
                <a:latin typeface="Arial" pitchFamily="34" charset="0"/>
                <a:cs typeface="Arial" pitchFamily="34" charset="0"/>
              </a:rPr>
              <a:t>GSICS leverages the value of individual missions</a:t>
            </a:r>
          </a:p>
          <a:p>
            <a:pPr marL="800100" lvl="1" indent="-342900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GB" altLang="zh-CN" sz="1600" dirty="0">
              <a:latin typeface="Arial" pitchFamily="34" charset="0"/>
              <a:cs typeface="Arial" pitchFamily="34" charset="0"/>
            </a:endParaRPr>
          </a:p>
          <a:p>
            <a:pPr marL="800100" lvl="1" indent="-342900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GB" altLang="zh-CN" sz="1600" dirty="0" smtClean="0">
              <a:latin typeface="Arial" pitchFamily="34" charset="0"/>
              <a:cs typeface="Arial" pitchFamily="34" charset="0"/>
            </a:endParaRPr>
          </a:p>
          <a:p>
            <a:pPr marL="800100" lvl="1" indent="-342900" latinLnBrk="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GB" altLang="zh-CN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3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Evolving scope of GSICS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288032" y="1196752"/>
            <a:ext cx="8748464" cy="4525963"/>
          </a:xfrm>
        </p:spPr>
        <p:txBody>
          <a:bodyPr/>
          <a:lstStyle/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Started with IR calibration corrections (GEO-LEO)</a:t>
            </a:r>
          </a:p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Continued with VIS/NIR domain</a:t>
            </a:r>
          </a:p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Now addressing also the UV and MW domains</a:t>
            </a:r>
          </a:p>
          <a:p>
            <a:pPr latinLnBrk="0"/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Started with Near Real-Time correction functions</a:t>
            </a:r>
          </a:p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Added </a:t>
            </a:r>
            <a:r>
              <a:rPr lang="en-US" sz="2400" i="1" dirty="0" smtClean="0">
                <a:latin typeface="Arial" pitchFamily="34" charset="0"/>
                <a:cs typeface="Arial" pitchFamily="34" charset="0"/>
              </a:rPr>
              <a:t>Re-analysis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corrections</a:t>
            </a:r>
          </a:p>
          <a:p>
            <a:pPr latinLnBrk="0"/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latinLnBrk="0"/>
            <a:r>
              <a:rPr lang="en-US" sz="2400" dirty="0" smtClean="0">
                <a:latin typeface="Arial" pitchFamily="34" charset="0"/>
                <a:cs typeface="Arial" pitchFamily="34" charset="0"/>
              </a:rPr>
              <a:t>Considering now a wider variety of deliverables depending on user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requirements</a:t>
            </a:r>
          </a:p>
          <a:p>
            <a:pPr lvl="1" latinLnBrk="0"/>
            <a:r>
              <a:rPr lang="en-US" sz="2000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New special session reprocessing/Recalibration will initiate in this annual meeting</a:t>
            </a:r>
          </a:p>
          <a:p>
            <a:pPr lvl="1" latinLnBrk="0"/>
            <a:r>
              <a:rPr lang="en-US" sz="2000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Space weather instrument inter-calibration from CGMS-44 last year</a:t>
            </a:r>
          </a:p>
          <a:p>
            <a:pPr lvl="1" latinLnBrk="0"/>
            <a:r>
              <a:rPr lang="en-US" sz="2000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And others…</a:t>
            </a:r>
            <a:endParaRPr lang="en-US" sz="2000" dirty="0" smtClean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  <a:p>
            <a:pPr latinLnBrk="0"/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latinLnBrk="0"/>
            <a:endParaRPr lang="en-US" sz="2400" dirty="0" smtClean="0">
              <a:latin typeface="Arial" pitchFamily="34" charset="0"/>
              <a:cs typeface="Arial" pitchFamily="34" charset="0"/>
            </a:endParaRPr>
          </a:p>
          <a:p>
            <a:pPr latinLnBrk="0"/>
            <a:endParaRPr lang="en-US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27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1520" y="44625"/>
            <a:ext cx="7886700" cy="551023"/>
          </a:xfrm>
        </p:spPr>
        <p:txBody>
          <a:bodyPr/>
          <a:lstStyle/>
          <a:p>
            <a:r>
              <a:rPr lang="en-US" altLang="ko-KR" b="1" dirty="0">
                <a:latin typeface="Arial" pitchFamily="34" charset="0"/>
                <a:cs typeface="Arial" pitchFamily="34" charset="0"/>
              </a:rPr>
              <a:t>GSICS Services and Tools</a:t>
            </a:r>
            <a:endParaRPr lang="ko-KR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27784" y="899428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b="1" u="sng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General information </a:t>
            </a:r>
            <a:r>
              <a:rPr lang="en-US" altLang="ko-KR" b="1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services</a:t>
            </a:r>
            <a:endParaRPr lang="ko-KR" altLang="ko-KR" b="1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397586" y="4427820"/>
            <a:ext cx="82809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b="1" u="sng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Specific </a:t>
            </a:r>
            <a:r>
              <a:rPr lang="en-US" altLang="ko-KR" b="1" u="sng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tools</a:t>
            </a:r>
            <a:endParaRPr lang="en-US" altLang="ko-KR" b="1" u="sng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8" name="모서리가 둥근 직사각형 7"/>
          <p:cNvSpPr/>
          <p:nvPr/>
        </p:nvSpPr>
        <p:spPr>
          <a:xfrm>
            <a:off x="826293" y="1340768"/>
            <a:ext cx="7528825" cy="2952328"/>
          </a:xfrm>
          <a:prstGeom prst="roundRect">
            <a:avLst/>
          </a:prstGeom>
          <a:solidFill>
            <a:srgbClr val="FFCCFF"/>
          </a:solidFill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portal maintained by WMO (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2"/>
              </a:rPr>
              <a:t>http://gsics.wmo.int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)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3"/>
              </a:rPr>
              <a:t>GCC website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maintained by the GSICS Coordination Center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related websites maintained by each member agency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User Messaging Service managed by the GCC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4"/>
              </a:rPr>
              <a:t>GSICS Product Catalogue</a:t>
            </a:r>
            <a:endParaRPr lang="en-US" altLang="ko-KR" dirty="0" smtClean="0">
              <a:solidFill>
                <a:schemeClr val="tx1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Quarterly newsletter </a:t>
            </a:r>
            <a:endParaRPr lang="ko-KR" altLang="ko-KR" dirty="0">
              <a:solidFill>
                <a:schemeClr val="tx1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User Workshop </a:t>
            </a:r>
            <a:endParaRPr lang="ko-KR" altLang="ko-KR" dirty="0">
              <a:solidFill>
                <a:schemeClr val="tx1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5"/>
              </a:rPr>
              <a:t>GSICS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5"/>
              </a:rPr>
              <a:t>Wiki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providing access to technical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documentation (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ATDB of each product and recording presentations from the GRWG and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DWG meetings)</a:t>
            </a:r>
            <a:endParaRPr lang="ko-KR" altLang="en-US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850904" y="4924968"/>
            <a:ext cx="7827602" cy="1672384"/>
          </a:xfrm>
          <a:prstGeom prst="roundRect">
            <a:avLst/>
          </a:prstGeom>
          <a:solidFill>
            <a:srgbClr val="F1F2C6"/>
          </a:solidFill>
          <a:ln>
            <a:solidFill>
              <a:srgbClr val="F1F2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Data and Products Servers (at EUMETSAT, NOAA, CMA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product generation framework and products format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hecke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ko-KR" b="1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GSICS Implementation of the ROLO Model (GIRO)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lunar calibration software and associated GSICS Lunar Observation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Datase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ko-KR" dirty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Various software 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tools(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  <a:hlinkClick r:id="rId6" action="ppaction://hlinkfile"/>
              </a:rPr>
              <a:t>Bias plotting tool</a:t>
            </a:r>
            <a:r>
              <a:rPr lang="en-US" altLang="ko-KR" dirty="0" smtClean="0">
                <a:solidFill>
                  <a:schemeClr val="tx1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altLang="ko-KR" sz="1600" i="1" dirty="0" smtClean="0">
                <a:solidFill>
                  <a:srgbClr val="0000FF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New tool is ready by CMA for extracting </a:t>
            </a:r>
            <a:r>
              <a:rPr lang="en-US" altLang="zh-CN" sz="1600" i="1" dirty="0" smtClean="0">
                <a:solidFill>
                  <a:srgbClr val="0000FF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SNO and PICS sub-dataset from some typical instruments (MODIS, MERSI)</a:t>
            </a:r>
            <a:endParaRPr lang="ko-KR" altLang="en-US" sz="1600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15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ko-KR" b="1" dirty="0">
                <a:latin typeface="Arial" pitchFamily="34" charset="0"/>
                <a:cs typeface="Arial" pitchFamily="34" charset="0"/>
              </a:rPr>
              <a:t>GSICS deliverables</a:t>
            </a:r>
            <a:endParaRPr lang="ko-KR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626826" y="1076980"/>
            <a:ext cx="6374174" cy="26776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re GSICS  inter-calibration products</a:t>
            </a:r>
          </a:p>
          <a:p>
            <a:pPr algn="ctr"/>
            <a:endParaRPr lang="fr-CH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Down Arrow 56"/>
          <p:cNvSpPr/>
          <p:nvPr/>
        </p:nvSpPr>
        <p:spPr>
          <a:xfrm flipV="1">
            <a:off x="5791200" y="4047656"/>
            <a:ext cx="838200" cy="2505544"/>
          </a:xfrm>
          <a:prstGeom prst="downArrow">
            <a:avLst>
              <a:gd name="adj1" fmla="val 50000"/>
              <a:gd name="adj2" fmla="val 25300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Down Arrow 2"/>
          <p:cNvSpPr/>
          <p:nvPr/>
        </p:nvSpPr>
        <p:spPr>
          <a:xfrm flipV="1">
            <a:off x="2667000" y="4038602"/>
            <a:ext cx="838200" cy="981407"/>
          </a:xfrm>
          <a:prstGeom prst="downArrow">
            <a:avLst>
              <a:gd name="adj1" fmla="val 50000"/>
              <a:gd name="adj2" fmla="val 29417"/>
            </a:avLst>
          </a:prstGeom>
          <a:solidFill>
            <a:srgbClr val="FFFFCC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Down Arrow 43"/>
          <p:cNvSpPr/>
          <p:nvPr/>
        </p:nvSpPr>
        <p:spPr>
          <a:xfrm flipV="1">
            <a:off x="3657600" y="4050635"/>
            <a:ext cx="838200" cy="1551731"/>
          </a:xfrm>
          <a:prstGeom prst="downArrow">
            <a:avLst>
              <a:gd name="adj1" fmla="val 50000"/>
              <a:gd name="adj2" fmla="val 27358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4C8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Down Arrow 44"/>
          <p:cNvSpPr/>
          <p:nvPr/>
        </p:nvSpPr>
        <p:spPr>
          <a:xfrm flipV="1">
            <a:off x="4648200" y="4050633"/>
            <a:ext cx="838200" cy="2048344"/>
          </a:xfrm>
          <a:prstGeom prst="downArrow">
            <a:avLst>
              <a:gd name="adj1" fmla="val 50000"/>
              <a:gd name="adj2" fmla="val 25300"/>
            </a:avLst>
          </a:prstGeom>
          <a:solidFill>
            <a:srgbClr val="E8E2EE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3" name="Diagram 3"/>
          <p:cNvGraphicFramePr/>
          <p:nvPr>
            <p:extLst>
              <p:ext uri="{D42A27DB-BD31-4B8C-83A1-F6EECF244321}">
                <p14:modId xmlns:p14="http://schemas.microsoft.com/office/powerpoint/2010/main" val="1477775958"/>
              </p:ext>
            </p:extLst>
          </p:nvPr>
        </p:nvGraphicFramePr>
        <p:xfrm>
          <a:off x="1219200" y="1470680"/>
          <a:ext cx="5791200" cy="2590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4" name="TextBox 53"/>
          <p:cNvSpPr txBox="1"/>
          <p:nvPr/>
        </p:nvSpPr>
        <p:spPr>
          <a:xfrm>
            <a:off x="152400" y="4444427"/>
            <a:ext cx="1600200" cy="584775"/>
          </a:xfrm>
          <a:prstGeom prst="rect">
            <a:avLst/>
          </a:prstGeom>
          <a:solidFill>
            <a:srgbClr val="F9DB91"/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cience </a:t>
            </a:r>
            <a:b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ources</a:t>
            </a:r>
            <a:endParaRPr lang="en-GB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5" name="Group 33"/>
          <p:cNvGrpSpPr/>
          <p:nvPr/>
        </p:nvGrpSpPr>
        <p:grpSpPr>
          <a:xfrm>
            <a:off x="1828800" y="4429038"/>
            <a:ext cx="6629400" cy="600164"/>
            <a:chOff x="1828800" y="4352836"/>
            <a:chExt cx="6629400" cy="600164"/>
          </a:xfrm>
        </p:grpSpPr>
        <p:grpSp>
          <p:nvGrpSpPr>
            <p:cNvPr id="56" name="Group 4"/>
            <p:cNvGrpSpPr/>
            <p:nvPr/>
          </p:nvGrpSpPr>
          <p:grpSpPr>
            <a:xfrm>
              <a:off x="1828800" y="4359124"/>
              <a:ext cx="5257800" cy="593876"/>
              <a:chOff x="1839583" y="457200"/>
              <a:chExt cx="5257800" cy="609600"/>
            </a:xfrm>
          </p:grpSpPr>
          <p:sp>
            <p:nvSpPr>
              <p:cNvPr id="58" name="Rounded Rectangle 8"/>
              <p:cNvSpPr/>
              <p:nvPr/>
            </p:nvSpPr>
            <p:spPr>
              <a:xfrm>
                <a:off x="1839583" y="457200"/>
                <a:ext cx="1271412" cy="600164"/>
              </a:xfrm>
              <a:prstGeom prst="roundRect">
                <a:avLst/>
              </a:prstGeom>
              <a:solidFill>
                <a:srgbClr val="F9DB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CH" sz="1200" dirty="0" err="1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Solar</a:t>
                </a:r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 &amp; </a:t>
                </a:r>
                <a:r>
                  <a:rPr lang="fr-CH" sz="1200" dirty="0" err="1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lunar</a:t>
                </a:r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b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fr-CH" sz="1200" dirty="0" err="1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spectra</a:t>
                </a:r>
                <a:endParaRPr lang="en-US" sz="1200" dirty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Rounded Rectangle 14"/>
              <p:cNvSpPr/>
              <p:nvPr/>
            </p:nvSpPr>
            <p:spPr>
              <a:xfrm>
                <a:off x="3158971" y="457200"/>
                <a:ext cx="1323623" cy="600164"/>
              </a:xfrm>
              <a:prstGeom prst="roundRect">
                <a:avLst/>
              </a:prstGeom>
              <a:solidFill>
                <a:srgbClr val="F9DB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CH" sz="1200" dirty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Target </a:t>
                </a:r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/>
                </a:r>
                <a:b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characteristics</a:t>
                </a:r>
                <a:endParaRPr lang="en-US" sz="1200" dirty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Rounded Rectangle 15"/>
              <p:cNvSpPr/>
              <p:nvPr/>
            </p:nvSpPr>
            <p:spPr>
              <a:xfrm>
                <a:off x="4582783" y="466636"/>
                <a:ext cx="1236187" cy="600164"/>
              </a:xfrm>
              <a:prstGeom prst="roundRect">
                <a:avLst/>
              </a:prstGeom>
              <a:solidFill>
                <a:srgbClr val="F9DB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Calibration </a:t>
                </a:r>
                <a:b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datasets</a:t>
                </a:r>
                <a:endParaRPr lang="en-US" sz="1200" dirty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Rounded Rectangle 16"/>
              <p:cNvSpPr/>
              <p:nvPr/>
            </p:nvSpPr>
            <p:spPr>
              <a:xfrm>
                <a:off x="5878183" y="457200"/>
                <a:ext cx="1219200" cy="600164"/>
              </a:xfrm>
              <a:prstGeom prst="roundRect">
                <a:avLst/>
              </a:prstGeom>
              <a:solidFill>
                <a:srgbClr val="F9DB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CH" sz="1200" dirty="0" smtClean="0">
                    <a:ln>
                      <a:solidFill>
                        <a:prstClr val="black"/>
                      </a:solidFill>
                    </a:ln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etc.</a:t>
                </a:r>
                <a:endParaRPr lang="en-US" sz="1200" dirty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7" name="Rounded Rectangle 17"/>
            <p:cNvSpPr/>
            <p:nvPr/>
          </p:nvSpPr>
          <p:spPr>
            <a:xfrm>
              <a:off x="7162800" y="4352836"/>
              <a:ext cx="1295400" cy="600164"/>
            </a:xfrm>
            <a:prstGeom prst="roundRect">
              <a:avLst/>
            </a:prstGeom>
            <a:solidFill>
              <a:srgbClr val="FAE1B0"/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200" dirty="0" err="1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Spectroscopy</a:t>
              </a:r>
              <a:r>
                <a:rPr lang="fr-CH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br>
                <a:rPr lang="fr-CH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fr-CH" sz="1200" dirty="0" err="1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database</a:t>
              </a:r>
              <a:r>
                <a:rPr lang="fr-CH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, </a:t>
              </a:r>
              <a:br>
                <a:rPr lang="fr-CH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fr-CH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TM</a:t>
              </a:r>
              <a:endParaRPr lang="en-US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152400" y="5130227"/>
            <a:ext cx="1600200" cy="584775"/>
          </a:xfrm>
          <a:prstGeom prst="rect">
            <a:avLst/>
          </a:prstGeom>
          <a:solidFill>
            <a:srgbClr val="04C8A7"/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andards &amp; </a:t>
            </a:r>
            <a:b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cedures</a:t>
            </a:r>
            <a:endParaRPr lang="en-GB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3" name="Group 38"/>
          <p:cNvGrpSpPr/>
          <p:nvPr/>
        </p:nvGrpSpPr>
        <p:grpSpPr>
          <a:xfrm>
            <a:off x="6210300" y="1496080"/>
            <a:ext cx="1758012" cy="2554555"/>
            <a:chOff x="6599208" y="2266591"/>
            <a:chExt cx="1477992" cy="2000609"/>
          </a:xfrm>
        </p:grpSpPr>
        <p:sp>
          <p:nvSpPr>
            <p:cNvPr id="64" name="Rectangle 39"/>
            <p:cNvSpPr/>
            <p:nvPr/>
          </p:nvSpPr>
          <p:spPr>
            <a:xfrm>
              <a:off x="6599208" y="2266591"/>
              <a:ext cx="14478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Near Real Time </a:t>
              </a:r>
              <a:b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rrections</a:t>
              </a:r>
              <a:endParaRPr lang="en-US" sz="14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40"/>
            <p:cNvSpPr/>
            <p:nvPr/>
          </p:nvSpPr>
          <p:spPr>
            <a:xfrm>
              <a:off x="6629400" y="2960299"/>
              <a:ext cx="1447800" cy="5334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ime–centered </a:t>
              </a:r>
              <a:b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rrections</a:t>
              </a:r>
              <a:endParaRPr lang="en-US" sz="14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41"/>
            <p:cNvSpPr/>
            <p:nvPr/>
          </p:nvSpPr>
          <p:spPr>
            <a:xfrm>
              <a:off x="6629400" y="3632801"/>
              <a:ext cx="1447800" cy="63439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Bias adjustment </a:t>
              </a:r>
              <a:b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4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equences</a:t>
              </a:r>
              <a:r>
                <a:rPr lang="en-US" sz="12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(archive)</a:t>
              </a:r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152400" y="5791202"/>
            <a:ext cx="1600200" cy="33855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SICS tools</a:t>
            </a:r>
            <a:endParaRPr lang="en-GB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8" name="Group 47"/>
          <p:cNvGrpSpPr/>
          <p:nvPr/>
        </p:nvGrpSpPr>
        <p:grpSpPr>
          <a:xfrm>
            <a:off x="152400" y="2372381"/>
            <a:ext cx="1474426" cy="1295400"/>
            <a:chOff x="152400" y="1905000"/>
            <a:chExt cx="1474426" cy="1295400"/>
          </a:xfrm>
        </p:grpSpPr>
        <p:pic>
          <p:nvPicPr>
            <p:cNvPr id="69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973" y="1905000"/>
              <a:ext cx="1322027" cy="868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0" name="TextBox 69"/>
            <p:cNvSpPr txBox="1"/>
            <p:nvPr/>
          </p:nvSpPr>
          <p:spPr>
            <a:xfrm>
              <a:off x="152400" y="2677180"/>
              <a:ext cx="147442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CH" sz="1400" i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Monitored </a:t>
              </a:r>
              <a:br>
                <a:rPr lang="fr-CH" sz="1400" i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fr-CH" sz="1400" i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nstrument</a:t>
              </a:r>
              <a:endParaRPr lang="en-US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1" name="Group 50"/>
          <p:cNvGrpSpPr/>
          <p:nvPr/>
        </p:nvGrpSpPr>
        <p:grpSpPr>
          <a:xfrm>
            <a:off x="1828800" y="5105401"/>
            <a:ext cx="6629400" cy="533400"/>
            <a:chOff x="1828800" y="5029200"/>
            <a:chExt cx="6629400" cy="533400"/>
          </a:xfrm>
        </p:grpSpPr>
        <p:sp>
          <p:nvSpPr>
            <p:cNvPr id="72" name="Rounded Rectangle 25"/>
            <p:cNvSpPr/>
            <p:nvPr/>
          </p:nvSpPr>
          <p:spPr>
            <a:xfrm>
              <a:off x="3148187" y="5052934"/>
              <a:ext cx="1323623" cy="496965"/>
            </a:xfrm>
            <a:prstGeom prst="roundRect">
              <a:avLst/>
            </a:prstGeom>
            <a:solidFill>
              <a:srgbClr val="04C8A7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Metadata &amp;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Data Formats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Rounded Rectangle 26"/>
            <p:cNvSpPr/>
            <p:nvPr/>
          </p:nvSpPr>
          <p:spPr>
            <a:xfrm>
              <a:off x="4572000" y="5060748"/>
              <a:ext cx="1219200" cy="496965"/>
            </a:xfrm>
            <a:prstGeom prst="roundRect">
              <a:avLst/>
            </a:prstGeom>
            <a:solidFill>
              <a:srgbClr val="04C8A7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Standard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vocabulary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Rounded Rectangle 27"/>
            <p:cNvSpPr/>
            <p:nvPr/>
          </p:nvSpPr>
          <p:spPr>
            <a:xfrm>
              <a:off x="5891390" y="5060748"/>
              <a:ext cx="1236186" cy="496965"/>
            </a:xfrm>
            <a:prstGeom prst="roundRect">
              <a:avLst/>
            </a:prstGeom>
            <a:solidFill>
              <a:srgbClr val="04C8A7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Procedures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Rounded Rectangle 28"/>
            <p:cNvSpPr/>
            <p:nvPr/>
          </p:nvSpPr>
          <p:spPr>
            <a:xfrm>
              <a:off x="7186788" y="5029200"/>
              <a:ext cx="1271412" cy="496965"/>
            </a:xfrm>
            <a:prstGeom prst="roundRect">
              <a:avLst/>
            </a:prstGeom>
            <a:solidFill>
              <a:srgbClr val="04C8A7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etc.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Rounded Rectangle 52"/>
            <p:cNvSpPr/>
            <p:nvPr/>
          </p:nvSpPr>
          <p:spPr>
            <a:xfrm>
              <a:off x="1828800" y="5065635"/>
              <a:ext cx="1271412" cy="496965"/>
            </a:xfrm>
            <a:prstGeom prst="roundRect">
              <a:avLst/>
            </a:prstGeom>
            <a:solidFill>
              <a:srgbClr val="04C8A7"/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eferences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(benchmarks)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7" name="Group 5"/>
          <p:cNvGrpSpPr/>
          <p:nvPr/>
        </p:nvGrpSpPr>
        <p:grpSpPr>
          <a:xfrm>
            <a:off x="8001000" y="2177172"/>
            <a:ext cx="1066800" cy="1100093"/>
            <a:chOff x="8163464" y="2051929"/>
            <a:chExt cx="904336" cy="853997"/>
          </a:xfrm>
        </p:grpSpPr>
        <p:sp>
          <p:nvSpPr>
            <p:cNvPr id="78" name="TextBox 77"/>
            <p:cNvSpPr txBox="1"/>
            <p:nvPr/>
          </p:nvSpPr>
          <p:spPr>
            <a:xfrm>
              <a:off x="8163464" y="2667000"/>
              <a:ext cx="828136" cy="238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CH" sz="1400" i="1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Users</a:t>
              </a:r>
              <a:endParaRPr lang="en-US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9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85088" y="2051929"/>
              <a:ext cx="882712" cy="615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0" name="TextBox 79"/>
          <p:cNvSpPr txBox="1"/>
          <p:nvPr/>
        </p:nvSpPr>
        <p:spPr>
          <a:xfrm>
            <a:off x="152400" y="6245423"/>
            <a:ext cx="1600200" cy="3385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ser services</a:t>
            </a:r>
            <a:endParaRPr lang="en-GB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1" name="Group 13"/>
          <p:cNvGrpSpPr/>
          <p:nvPr/>
        </p:nvGrpSpPr>
        <p:grpSpPr>
          <a:xfrm>
            <a:off x="1861868" y="5715000"/>
            <a:ext cx="6596332" cy="409667"/>
            <a:chOff x="1808699" y="5715000"/>
            <a:chExt cx="6596332" cy="409666"/>
          </a:xfrm>
        </p:grpSpPr>
        <p:sp>
          <p:nvSpPr>
            <p:cNvPr id="82" name="Rounded Rectangle 21"/>
            <p:cNvSpPr/>
            <p:nvPr/>
          </p:nvSpPr>
          <p:spPr>
            <a:xfrm>
              <a:off x="1808699" y="5733399"/>
              <a:ext cx="1238344" cy="38521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SNO matchup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Rounded Rectangle 22"/>
            <p:cNvSpPr/>
            <p:nvPr/>
          </p:nvSpPr>
          <p:spPr>
            <a:xfrm>
              <a:off x="4518831" y="5715000"/>
              <a:ext cx="1236187" cy="38521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ay matching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Rounded Rectangle 23"/>
            <p:cNvSpPr/>
            <p:nvPr/>
          </p:nvSpPr>
          <p:spPr>
            <a:xfrm>
              <a:off x="3126651" y="5739455"/>
              <a:ext cx="1291991" cy="38521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Bias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monitoring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" name="Rounded Rectangle 24"/>
            <p:cNvSpPr/>
            <p:nvPr/>
          </p:nvSpPr>
          <p:spPr>
            <a:xfrm>
              <a:off x="5838221" y="5715000"/>
              <a:ext cx="1248379" cy="38521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Plotting,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eaders 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6" name="Rounded Rectangle 51"/>
            <p:cNvSpPr/>
            <p:nvPr/>
          </p:nvSpPr>
          <p:spPr>
            <a:xfrm>
              <a:off x="7147397" y="5715000"/>
              <a:ext cx="1257634" cy="385211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etc. 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7" name="Group 18"/>
          <p:cNvGrpSpPr/>
          <p:nvPr/>
        </p:nvGrpSpPr>
        <p:grpSpPr>
          <a:xfrm>
            <a:off x="1903422" y="6226682"/>
            <a:ext cx="6586035" cy="332205"/>
            <a:chOff x="1861868" y="6220996"/>
            <a:chExt cx="6586035" cy="332205"/>
          </a:xfrm>
        </p:grpSpPr>
        <p:sp>
          <p:nvSpPr>
            <p:cNvPr id="88" name="Rounded Rectangle 42"/>
            <p:cNvSpPr/>
            <p:nvPr/>
          </p:nvSpPr>
          <p:spPr>
            <a:xfrm>
              <a:off x="1861868" y="6220997"/>
              <a:ext cx="1224234" cy="3322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Registration, messaging 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9" name="Rounded Rectangle 53"/>
            <p:cNvSpPr/>
            <p:nvPr/>
          </p:nvSpPr>
          <p:spPr>
            <a:xfrm>
              <a:off x="3148189" y="6220996"/>
              <a:ext cx="1323621" cy="3322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Product </a:t>
              </a:r>
              <a:b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catalogue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0" name="Rounded Rectangle 54"/>
            <p:cNvSpPr/>
            <p:nvPr/>
          </p:nvSpPr>
          <p:spPr>
            <a:xfrm>
              <a:off x="4530448" y="6220996"/>
              <a:ext cx="1277740" cy="3322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Data servers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Rounded Rectangle 55"/>
            <p:cNvSpPr/>
            <p:nvPr/>
          </p:nvSpPr>
          <p:spPr>
            <a:xfrm>
              <a:off x="5891390" y="6220996"/>
              <a:ext cx="1194634" cy="3322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wiki, website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Rounded Rectangle 57"/>
            <p:cNvSpPr/>
            <p:nvPr/>
          </p:nvSpPr>
          <p:spPr>
            <a:xfrm>
              <a:off x="7159015" y="6220996"/>
              <a:ext cx="1288888" cy="332204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 smtClean="0">
                  <a:ln>
                    <a:solidFill>
                      <a:prstClr val="black"/>
                    </a:solidFill>
                  </a:ln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Documentation info,  etc.</a:t>
              </a:r>
              <a:endParaRPr lang="en-GB" sz="12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367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 smtClean="0">
                <a:latin typeface="Arial" pitchFamily="34" charset="0"/>
                <a:cs typeface="Arial" pitchFamily="34" charset="0"/>
              </a:rPr>
              <a:t>GSICS Members</a:t>
            </a:r>
            <a:endParaRPr lang="ko-KR" alt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914912" y="5705005"/>
            <a:ext cx="33337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4" y="10"/>
              </a:cxn>
              <a:cxn ang="0">
                <a:pos x="8" y="14"/>
              </a:cxn>
              <a:cxn ang="0">
                <a:pos x="13" y="20"/>
              </a:cxn>
              <a:cxn ang="0">
                <a:pos x="16" y="17"/>
              </a:cxn>
              <a:cxn ang="0">
                <a:pos x="19" y="13"/>
              </a:cxn>
              <a:cxn ang="0">
                <a:pos x="23" y="11"/>
              </a:cxn>
              <a:cxn ang="0">
                <a:pos x="27" y="10"/>
              </a:cxn>
              <a:cxn ang="0">
                <a:pos x="36" y="8"/>
              </a:cxn>
              <a:cxn ang="0">
                <a:pos x="46" y="7"/>
              </a:cxn>
              <a:cxn ang="0">
                <a:pos x="54" y="7"/>
              </a:cxn>
              <a:cxn ang="0">
                <a:pos x="63" y="6"/>
              </a:cxn>
              <a:cxn ang="0">
                <a:pos x="66" y="5"/>
              </a:cxn>
              <a:cxn ang="0">
                <a:pos x="69" y="4"/>
              </a:cxn>
              <a:cxn ang="0">
                <a:pos x="71" y="2"/>
              </a:cxn>
              <a:cxn ang="0">
                <a:pos x="73" y="0"/>
              </a:cxn>
              <a:cxn ang="0">
                <a:pos x="0" y="0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073414" y="1806104"/>
            <a:ext cx="784225" cy="446088"/>
          </a:xfrm>
          <a:custGeom>
            <a:avLst/>
            <a:gdLst/>
            <a:ahLst/>
            <a:cxnLst>
              <a:cxn ang="0">
                <a:pos x="1395" y="807"/>
              </a:cxn>
              <a:cxn ang="0">
                <a:pos x="1394" y="753"/>
              </a:cxn>
              <a:cxn ang="0">
                <a:pos x="1373" y="648"/>
              </a:cxn>
              <a:cxn ang="0">
                <a:pos x="1323" y="641"/>
              </a:cxn>
              <a:cxn ang="0">
                <a:pos x="1264" y="639"/>
              </a:cxn>
              <a:cxn ang="0">
                <a:pos x="1134" y="582"/>
              </a:cxn>
              <a:cxn ang="0">
                <a:pos x="973" y="537"/>
              </a:cxn>
              <a:cxn ang="0">
                <a:pos x="943" y="504"/>
              </a:cxn>
              <a:cxn ang="0">
                <a:pos x="901" y="516"/>
              </a:cxn>
              <a:cxn ang="0">
                <a:pos x="849" y="570"/>
              </a:cxn>
              <a:cxn ang="0">
                <a:pos x="675" y="619"/>
              </a:cxn>
              <a:cxn ang="0">
                <a:pos x="678" y="578"/>
              </a:cxn>
              <a:cxn ang="0">
                <a:pos x="721" y="548"/>
              </a:cxn>
              <a:cxn ang="0">
                <a:pos x="786" y="545"/>
              </a:cxn>
              <a:cxn ang="0">
                <a:pos x="724" y="528"/>
              </a:cxn>
              <a:cxn ang="0">
                <a:pos x="578" y="589"/>
              </a:cxn>
              <a:cxn ang="0">
                <a:pos x="547" y="625"/>
              </a:cxn>
              <a:cxn ang="0">
                <a:pos x="526" y="650"/>
              </a:cxn>
              <a:cxn ang="0">
                <a:pos x="452" y="654"/>
              </a:cxn>
              <a:cxn ang="0">
                <a:pos x="383" y="702"/>
              </a:cxn>
              <a:cxn ang="0">
                <a:pos x="252" y="750"/>
              </a:cxn>
              <a:cxn ang="0">
                <a:pos x="105" y="807"/>
              </a:cxn>
              <a:cxn ang="0">
                <a:pos x="4" y="813"/>
              </a:cxn>
              <a:cxn ang="0">
                <a:pos x="14" y="789"/>
              </a:cxn>
              <a:cxn ang="0">
                <a:pos x="127" y="761"/>
              </a:cxn>
              <a:cxn ang="0">
                <a:pos x="265" y="696"/>
              </a:cxn>
              <a:cxn ang="0">
                <a:pos x="300" y="626"/>
              </a:cxn>
              <a:cxn ang="0">
                <a:pos x="253" y="657"/>
              </a:cxn>
              <a:cxn ang="0">
                <a:pos x="150" y="643"/>
              </a:cxn>
              <a:cxn ang="0">
                <a:pos x="172" y="610"/>
              </a:cxn>
              <a:cxn ang="0">
                <a:pos x="240" y="547"/>
              </a:cxn>
              <a:cxn ang="0">
                <a:pos x="152" y="575"/>
              </a:cxn>
              <a:cxn ang="0">
                <a:pos x="143" y="536"/>
              </a:cxn>
              <a:cxn ang="0">
                <a:pos x="346" y="380"/>
              </a:cxn>
              <a:cxn ang="0">
                <a:pos x="444" y="382"/>
              </a:cxn>
              <a:cxn ang="0">
                <a:pos x="569" y="349"/>
              </a:cxn>
              <a:cxn ang="0">
                <a:pos x="592" y="306"/>
              </a:cxn>
              <a:cxn ang="0">
                <a:pos x="506" y="331"/>
              </a:cxn>
              <a:cxn ang="0">
                <a:pos x="438" y="318"/>
              </a:cxn>
              <a:cxn ang="0">
                <a:pos x="472" y="287"/>
              </a:cxn>
              <a:cxn ang="0">
                <a:pos x="711" y="238"/>
              </a:cxn>
              <a:cxn ang="0">
                <a:pos x="749" y="210"/>
              </a:cxn>
              <a:cxn ang="0">
                <a:pos x="684" y="176"/>
              </a:cxn>
              <a:cxn ang="0">
                <a:pos x="739" y="109"/>
              </a:cxn>
              <a:cxn ang="0">
                <a:pos x="988" y="27"/>
              </a:cxn>
              <a:cxn ang="0">
                <a:pos x="1157" y="9"/>
              </a:cxn>
              <a:cxn ang="0">
                <a:pos x="1277" y="2"/>
              </a:cxn>
              <a:cxn ang="0">
                <a:pos x="1354" y="10"/>
              </a:cxn>
              <a:cxn ang="0">
                <a:pos x="1516" y="34"/>
              </a:cxn>
              <a:cxn ang="0">
                <a:pos x="1761" y="41"/>
              </a:cxn>
              <a:cxn ang="0">
                <a:pos x="1287" y="540"/>
              </a:cxn>
              <a:cxn ang="0">
                <a:pos x="1321" y="571"/>
              </a:cxn>
              <a:cxn ang="0">
                <a:pos x="1327" y="601"/>
              </a:cxn>
              <a:cxn ang="0">
                <a:pos x="1382" y="599"/>
              </a:cxn>
              <a:cxn ang="0">
                <a:pos x="1429" y="577"/>
              </a:cxn>
              <a:cxn ang="0">
                <a:pos x="1475" y="667"/>
              </a:cxn>
              <a:cxn ang="0">
                <a:pos x="1462" y="706"/>
              </a:cxn>
              <a:cxn ang="0">
                <a:pos x="1449" y="742"/>
              </a:cxn>
              <a:cxn ang="0">
                <a:pos x="1477" y="783"/>
              </a:cxn>
              <a:cxn ang="0">
                <a:pos x="1477" y="811"/>
              </a:cxn>
              <a:cxn ang="0">
                <a:pos x="1426" y="848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533789" y="2422053"/>
            <a:ext cx="1381125" cy="769939"/>
          </a:xfrm>
          <a:custGeom>
            <a:avLst/>
            <a:gdLst/>
            <a:ahLst/>
            <a:cxnLst>
              <a:cxn ang="0">
                <a:pos x="2928" y="353"/>
              </a:cxn>
              <a:cxn ang="0">
                <a:pos x="2896" y="440"/>
              </a:cxn>
              <a:cxn ang="0">
                <a:pos x="2843" y="462"/>
              </a:cxn>
              <a:cxn ang="0">
                <a:pos x="2667" y="566"/>
              </a:cxn>
              <a:cxn ang="0">
                <a:pos x="2595" y="585"/>
              </a:cxn>
              <a:cxn ang="0">
                <a:pos x="2570" y="677"/>
              </a:cxn>
              <a:cxn ang="0">
                <a:pos x="2514" y="621"/>
              </a:cxn>
              <a:cxn ang="0">
                <a:pos x="2499" y="690"/>
              </a:cxn>
              <a:cxn ang="0">
                <a:pos x="2465" y="744"/>
              </a:cxn>
              <a:cxn ang="0">
                <a:pos x="2471" y="823"/>
              </a:cxn>
              <a:cxn ang="0">
                <a:pos x="2332" y="928"/>
              </a:cxn>
              <a:cxn ang="0">
                <a:pos x="2165" y="1045"/>
              </a:cxn>
              <a:cxn ang="0">
                <a:pos x="2112" y="1195"/>
              </a:cxn>
              <a:cxn ang="0">
                <a:pos x="2103" y="1457"/>
              </a:cxn>
              <a:cxn ang="0">
                <a:pos x="2026" y="1414"/>
              </a:cxn>
              <a:cxn ang="0">
                <a:pos x="1993" y="1326"/>
              </a:cxn>
              <a:cxn ang="0">
                <a:pos x="1959" y="1184"/>
              </a:cxn>
              <a:cxn ang="0">
                <a:pos x="1832" y="1168"/>
              </a:cxn>
              <a:cxn ang="0">
                <a:pos x="1653" y="1143"/>
              </a:cxn>
              <a:cxn ang="0">
                <a:pos x="1616" y="1186"/>
              </a:cxn>
              <a:cxn ang="0">
                <a:pos x="1548" y="1238"/>
              </a:cxn>
              <a:cxn ang="0">
                <a:pos x="1436" y="1192"/>
              </a:cxn>
              <a:cxn ang="0">
                <a:pos x="1231" y="1272"/>
              </a:cxn>
              <a:cxn ang="0">
                <a:pos x="1160" y="1392"/>
              </a:cxn>
              <a:cxn ang="0">
                <a:pos x="1080" y="1382"/>
              </a:cxn>
              <a:cxn ang="0">
                <a:pos x="1037" y="1227"/>
              </a:cxn>
              <a:cxn ang="0">
                <a:pos x="940" y="1190"/>
              </a:cxn>
              <a:cxn ang="0">
                <a:pos x="867" y="1219"/>
              </a:cxn>
              <a:cxn ang="0">
                <a:pos x="782" y="1087"/>
              </a:cxn>
              <a:cxn ang="0">
                <a:pos x="670" y="1065"/>
              </a:cxn>
              <a:cxn ang="0">
                <a:pos x="462" y="1065"/>
              </a:cxn>
              <a:cxn ang="0">
                <a:pos x="220" y="1016"/>
              </a:cxn>
              <a:cxn ang="0">
                <a:pos x="88" y="920"/>
              </a:cxn>
              <a:cxn ang="0">
                <a:pos x="39" y="848"/>
              </a:cxn>
              <a:cxn ang="0">
                <a:pos x="29" y="662"/>
              </a:cxn>
              <a:cxn ang="0">
                <a:pos x="0" y="604"/>
              </a:cxn>
              <a:cxn ang="0">
                <a:pos x="141" y="336"/>
              </a:cxn>
              <a:cxn ang="0">
                <a:pos x="247" y="176"/>
              </a:cxn>
              <a:cxn ang="0">
                <a:pos x="355" y="102"/>
              </a:cxn>
              <a:cxn ang="0">
                <a:pos x="376" y="120"/>
              </a:cxn>
              <a:cxn ang="0">
                <a:pos x="1827" y="0"/>
              </a:cxn>
              <a:cxn ang="0">
                <a:pos x="1926" y="55"/>
              </a:cxn>
              <a:cxn ang="0">
                <a:pos x="2015" y="69"/>
              </a:cxn>
              <a:cxn ang="0">
                <a:pos x="1929" y="128"/>
              </a:cxn>
              <a:cxn ang="0">
                <a:pos x="1977" y="166"/>
              </a:cxn>
              <a:cxn ang="0">
                <a:pos x="2094" y="155"/>
              </a:cxn>
              <a:cxn ang="0">
                <a:pos x="2284" y="193"/>
              </a:cxn>
              <a:cxn ang="0">
                <a:pos x="2217" y="204"/>
              </a:cxn>
              <a:cxn ang="0">
                <a:pos x="2087" y="264"/>
              </a:cxn>
              <a:cxn ang="0">
                <a:pos x="2021" y="355"/>
              </a:cxn>
              <a:cxn ang="0">
                <a:pos x="2012" y="451"/>
              </a:cxn>
              <a:cxn ang="0">
                <a:pos x="2076" y="417"/>
              </a:cxn>
              <a:cxn ang="0">
                <a:pos x="2205" y="252"/>
              </a:cxn>
              <a:cxn ang="0">
                <a:pos x="2267" y="303"/>
              </a:cxn>
              <a:cxn ang="0">
                <a:pos x="2299" y="394"/>
              </a:cxn>
              <a:cxn ang="0">
                <a:pos x="2206" y="454"/>
              </a:cxn>
              <a:cxn ang="0">
                <a:pos x="2317" y="457"/>
              </a:cxn>
              <a:cxn ang="0">
                <a:pos x="2570" y="373"/>
              </a:cxn>
              <a:cxn ang="0">
                <a:pos x="2730" y="252"/>
              </a:cxn>
              <a:cxn ang="0">
                <a:pos x="3016" y="203"/>
              </a:cxn>
              <a:cxn ang="0">
                <a:pos x="3136" y="118"/>
              </a:cxn>
              <a:cxn ang="0">
                <a:pos x="3149" y="184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367226" y="3973042"/>
            <a:ext cx="339725" cy="590551"/>
          </a:xfrm>
          <a:custGeom>
            <a:avLst/>
            <a:gdLst/>
            <a:ahLst/>
            <a:cxnLst>
              <a:cxn ang="0">
                <a:pos x="583" y="277"/>
              </a:cxn>
              <a:cxn ang="0">
                <a:pos x="549" y="295"/>
              </a:cxn>
              <a:cxn ang="0">
                <a:pos x="484" y="387"/>
              </a:cxn>
              <a:cxn ang="0">
                <a:pos x="465" y="457"/>
              </a:cxn>
              <a:cxn ang="0">
                <a:pos x="481" y="522"/>
              </a:cxn>
              <a:cxn ang="0">
                <a:pos x="530" y="591"/>
              </a:cxn>
              <a:cxn ang="0">
                <a:pos x="579" y="616"/>
              </a:cxn>
              <a:cxn ang="0">
                <a:pos x="625" y="600"/>
              </a:cxn>
              <a:cxn ang="0">
                <a:pos x="654" y="653"/>
              </a:cxn>
              <a:cxn ang="0">
                <a:pos x="672" y="683"/>
              </a:cxn>
              <a:cxn ang="0">
                <a:pos x="714" y="687"/>
              </a:cxn>
              <a:cxn ang="0">
                <a:pos x="749" y="712"/>
              </a:cxn>
              <a:cxn ang="0">
                <a:pos x="770" y="756"/>
              </a:cxn>
              <a:cxn ang="0">
                <a:pos x="761" y="790"/>
              </a:cxn>
              <a:cxn ang="0">
                <a:pos x="760" y="825"/>
              </a:cxn>
              <a:cxn ang="0">
                <a:pos x="772" y="882"/>
              </a:cxn>
              <a:cxn ang="0">
                <a:pos x="758" y="932"/>
              </a:cxn>
              <a:cxn ang="0">
                <a:pos x="770" y="994"/>
              </a:cxn>
              <a:cxn ang="0">
                <a:pos x="763" y="1054"/>
              </a:cxn>
              <a:cxn ang="0">
                <a:pos x="691" y="1122"/>
              </a:cxn>
              <a:cxn ang="0">
                <a:pos x="648" y="1103"/>
              </a:cxn>
              <a:cxn ang="0">
                <a:pos x="602" y="1056"/>
              </a:cxn>
              <a:cxn ang="0">
                <a:pos x="463" y="998"/>
              </a:cxn>
              <a:cxn ang="0">
                <a:pos x="425" y="967"/>
              </a:cxn>
              <a:cxn ang="0">
                <a:pos x="331" y="894"/>
              </a:cxn>
              <a:cxn ang="0">
                <a:pos x="318" y="867"/>
              </a:cxn>
              <a:cxn ang="0">
                <a:pos x="328" y="815"/>
              </a:cxn>
              <a:cxn ang="0">
                <a:pos x="290" y="778"/>
              </a:cxn>
              <a:cxn ang="0">
                <a:pos x="259" y="745"/>
              </a:cxn>
              <a:cxn ang="0">
                <a:pos x="243" y="689"/>
              </a:cxn>
              <a:cxn ang="0">
                <a:pos x="153" y="530"/>
              </a:cxn>
              <a:cxn ang="0">
                <a:pos x="120" y="487"/>
              </a:cxn>
              <a:cxn ang="0">
                <a:pos x="90" y="432"/>
              </a:cxn>
              <a:cxn ang="0">
                <a:pos x="22" y="397"/>
              </a:cxn>
              <a:cxn ang="0">
                <a:pos x="0" y="363"/>
              </a:cxn>
              <a:cxn ang="0">
                <a:pos x="13" y="276"/>
              </a:cxn>
              <a:cxn ang="0">
                <a:pos x="28" y="246"/>
              </a:cxn>
              <a:cxn ang="0">
                <a:pos x="72" y="222"/>
              </a:cxn>
              <a:cxn ang="0">
                <a:pos x="95" y="272"/>
              </a:cxn>
              <a:cxn ang="0">
                <a:pos x="158" y="307"/>
              </a:cxn>
              <a:cxn ang="0">
                <a:pos x="184" y="271"/>
              </a:cxn>
              <a:cxn ang="0">
                <a:pos x="201" y="225"/>
              </a:cxn>
              <a:cxn ang="0">
                <a:pos x="270" y="170"/>
              </a:cxn>
              <a:cxn ang="0">
                <a:pos x="344" y="120"/>
              </a:cxn>
              <a:cxn ang="0">
                <a:pos x="357" y="70"/>
              </a:cxn>
              <a:cxn ang="0">
                <a:pos x="347" y="5"/>
              </a:cxn>
              <a:cxn ang="0">
                <a:pos x="422" y="53"/>
              </a:cxn>
              <a:cxn ang="0">
                <a:pos x="467" y="107"/>
              </a:cxn>
              <a:cxn ang="0">
                <a:pos x="506" y="154"/>
              </a:cxn>
              <a:cxn ang="0">
                <a:pos x="561" y="157"/>
              </a:cxn>
              <a:cxn ang="0">
                <a:pos x="617" y="149"/>
              </a:cxn>
              <a:cxn ang="0">
                <a:pos x="640" y="156"/>
              </a:cxn>
              <a:cxn ang="0">
                <a:pos x="654" y="193"/>
              </a:cxn>
              <a:cxn ang="0">
                <a:pos x="627" y="210"/>
              </a:cxn>
              <a:cxn ang="0">
                <a:pos x="627" y="240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667264" y="4536605"/>
            <a:ext cx="261937" cy="1130300"/>
          </a:xfrm>
          <a:custGeom>
            <a:avLst/>
            <a:gdLst/>
            <a:ahLst/>
            <a:cxnLst>
              <a:cxn ang="0">
                <a:pos x="418" y="2021"/>
              </a:cxn>
              <a:cxn ang="0">
                <a:pos x="342" y="1955"/>
              </a:cxn>
              <a:cxn ang="0">
                <a:pos x="339" y="1893"/>
              </a:cxn>
              <a:cxn ang="0">
                <a:pos x="345" y="1843"/>
              </a:cxn>
              <a:cxn ang="0">
                <a:pos x="362" y="1791"/>
              </a:cxn>
              <a:cxn ang="0">
                <a:pos x="354" y="1740"/>
              </a:cxn>
              <a:cxn ang="0">
                <a:pos x="332" y="1683"/>
              </a:cxn>
              <a:cxn ang="0">
                <a:pos x="303" y="1581"/>
              </a:cxn>
              <a:cxn ang="0">
                <a:pos x="226" y="1460"/>
              </a:cxn>
              <a:cxn ang="0">
                <a:pos x="206" y="1381"/>
              </a:cxn>
              <a:cxn ang="0">
                <a:pos x="217" y="1299"/>
              </a:cxn>
              <a:cxn ang="0">
                <a:pos x="208" y="1235"/>
              </a:cxn>
              <a:cxn ang="0">
                <a:pos x="185" y="1165"/>
              </a:cxn>
              <a:cxn ang="0">
                <a:pos x="211" y="1123"/>
              </a:cxn>
              <a:cxn ang="0">
                <a:pos x="195" y="1082"/>
              </a:cxn>
              <a:cxn ang="0">
                <a:pos x="211" y="1025"/>
              </a:cxn>
              <a:cxn ang="0">
                <a:pos x="210" y="993"/>
              </a:cxn>
              <a:cxn ang="0">
                <a:pos x="187" y="927"/>
              </a:cxn>
              <a:cxn ang="0">
                <a:pos x="136" y="852"/>
              </a:cxn>
              <a:cxn ang="0">
                <a:pos x="134" y="686"/>
              </a:cxn>
              <a:cxn ang="0">
                <a:pos x="183" y="584"/>
              </a:cxn>
              <a:cxn ang="0">
                <a:pos x="189" y="522"/>
              </a:cxn>
              <a:cxn ang="0">
                <a:pos x="160" y="459"/>
              </a:cxn>
              <a:cxn ang="0">
                <a:pos x="182" y="406"/>
              </a:cxn>
              <a:cxn ang="0">
                <a:pos x="229" y="346"/>
              </a:cxn>
              <a:cxn ang="0">
                <a:pos x="200" y="308"/>
              </a:cxn>
              <a:cxn ang="0">
                <a:pos x="148" y="222"/>
              </a:cxn>
              <a:cxn ang="0">
                <a:pos x="129" y="125"/>
              </a:cxn>
              <a:cxn ang="0">
                <a:pos x="91" y="37"/>
              </a:cxn>
              <a:cxn ang="0">
                <a:pos x="0" y="44"/>
              </a:cxn>
              <a:cxn ang="0">
                <a:pos x="31" y="200"/>
              </a:cxn>
              <a:cxn ang="0">
                <a:pos x="42" y="304"/>
              </a:cxn>
              <a:cxn ang="0">
                <a:pos x="27" y="374"/>
              </a:cxn>
              <a:cxn ang="0">
                <a:pos x="52" y="524"/>
              </a:cxn>
              <a:cxn ang="0">
                <a:pos x="46" y="649"/>
              </a:cxn>
              <a:cxn ang="0">
                <a:pos x="36" y="718"/>
              </a:cxn>
              <a:cxn ang="0">
                <a:pos x="52" y="767"/>
              </a:cxn>
              <a:cxn ang="0">
                <a:pos x="64" y="871"/>
              </a:cxn>
              <a:cxn ang="0">
                <a:pos x="81" y="913"/>
              </a:cxn>
              <a:cxn ang="0">
                <a:pos x="73" y="1045"/>
              </a:cxn>
              <a:cxn ang="0">
                <a:pos x="63" y="1152"/>
              </a:cxn>
              <a:cxn ang="0">
                <a:pos x="40" y="1188"/>
              </a:cxn>
              <a:cxn ang="0">
                <a:pos x="60" y="1258"/>
              </a:cxn>
              <a:cxn ang="0">
                <a:pos x="106" y="1343"/>
              </a:cxn>
              <a:cxn ang="0">
                <a:pos x="93" y="1396"/>
              </a:cxn>
              <a:cxn ang="0">
                <a:pos x="106" y="1449"/>
              </a:cxn>
              <a:cxn ang="0">
                <a:pos x="164" y="1467"/>
              </a:cxn>
              <a:cxn ang="0">
                <a:pos x="209" y="1621"/>
              </a:cxn>
              <a:cxn ang="0">
                <a:pos x="227" y="1709"/>
              </a:cxn>
              <a:cxn ang="0">
                <a:pos x="151" y="1749"/>
              </a:cxn>
              <a:cxn ang="0">
                <a:pos x="207" y="1776"/>
              </a:cxn>
              <a:cxn ang="0">
                <a:pos x="250" y="1820"/>
              </a:cxn>
              <a:cxn ang="0">
                <a:pos x="275" y="1871"/>
              </a:cxn>
              <a:cxn ang="0">
                <a:pos x="308" y="1961"/>
              </a:cxn>
              <a:cxn ang="0">
                <a:pos x="359" y="2013"/>
              </a:cxn>
              <a:cxn ang="0">
                <a:pos x="393" y="2048"/>
              </a:cxn>
              <a:cxn ang="0">
                <a:pos x="424" y="2074"/>
              </a:cxn>
              <a:cxn ang="0">
                <a:pos x="465" y="2110"/>
              </a:cxn>
              <a:cxn ang="0">
                <a:pos x="519" y="2140"/>
              </a:cxn>
              <a:cxn ang="0">
                <a:pos x="538" y="2151"/>
              </a:cxn>
              <a:cxn ang="0">
                <a:pos x="586" y="2098"/>
              </a:cxn>
              <a:cxn ang="0">
                <a:pos x="591" y="2071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572014" y="3819056"/>
            <a:ext cx="966787" cy="1203325"/>
          </a:xfrm>
          <a:custGeom>
            <a:avLst/>
            <a:gdLst/>
            <a:ahLst/>
            <a:cxnLst>
              <a:cxn ang="0">
                <a:pos x="440" y="896"/>
              </a:cxn>
              <a:cxn ang="0">
                <a:pos x="505" y="985"/>
              </a:cxn>
              <a:cxn ang="0">
                <a:pos x="572" y="1054"/>
              </a:cxn>
              <a:cxn ang="0">
                <a:pos x="716" y="1098"/>
              </a:cxn>
              <a:cxn ang="0">
                <a:pos x="798" y="1204"/>
              </a:cxn>
              <a:cxn ang="0">
                <a:pos x="846" y="1292"/>
              </a:cxn>
              <a:cxn ang="0">
                <a:pos x="939" y="1355"/>
              </a:cxn>
              <a:cxn ang="0">
                <a:pos x="957" y="1466"/>
              </a:cxn>
              <a:cxn ang="0">
                <a:pos x="976" y="1541"/>
              </a:cxn>
              <a:cxn ang="0">
                <a:pos x="992" y="1632"/>
              </a:cxn>
              <a:cxn ang="0">
                <a:pos x="1131" y="1698"/>
              </a:cxn>
              <a:cxn ang="0">
                <a:pos x="1193" y="1805"/>
              </a:cxn>
              <a:cxn ang="0">
                <a:pos x="1243" y="1864"/>
              </a:cxn>
              <a:cxn ang="0">
                <a:pos x="1183" y="2003"/>
              </a:cxn>
              <a:cxn ang="0">
                <a:pos x="1084" y="2128"/>
              </a:cxn>
              <a:cxn ang="0">
                <a:pos x="1180" y="2161"/>
              </a:cxn>
              <a:cxn ang="0">
                <a:pos x="1296" y="2234"/>
              </a:cxn>
              <a:cxn ang="0">
                <a:pos x="1419" y="2198"/>
              </a:cxn>
              <a:cxn ang="0">
                <a:pos x="1518" y="2036"/>
              </a:cxn>
              <a:cxn ang="0">
                <a:pos x="1512" y="1918"/>
              </a:cxn>
              <a:cxn ang="0">
                <a:pos x="1561" y="1793"/>
              </a:cxn>
              <a:cxn ang="0">
                <a:pos x="1706" y="1727"/>
              </a:cxn>
              <a:cxn ang="0">
                <a:pos x="1798" y="1681"/>
              </a:cxn>
              <a:cxn ang="0">
                <a:pos x="1897" y="1641"/>
              </a:cxn>
              <a:cxn ang="0">
                <a:pos x="1982" y="1400"/>
              </a:cxn>
              <a:cxn ang="0">
                <a:pos x="2014" y="1288"/>
              </a:cxn>
              <a:cxn ang="0">
                <a:pos x="2002" y="1090"/>
              </a:cxn>
              <a:cxn ang="0">
                <a:pos x="2073" y="1009"/>
              </a:cxn>
              <a:cxn ang="0">
                <a:pos x="2190" y="877"/>
              </a:cxn>
              <a:cxn ang="0">
                <a:pos x="2222" y="732"/>
              </a:cxn>
              <a:cxn ang="0">
                <a:pos x="2157" y="599"/>
              </a:cxn>
              <a:cxn ang="0">
                <a:pos x="2059" y="563"/>
              </a:cxn>
              <a:cxn ang="0">
                <a:pos x="1921" y="462"/>
              </a:cxn>
              <a:cxn ang="0">
                <a:pos x="1742" y="450"/>
              </a:cxn>
              <a:cxn ang="0">
                <a:pos x="1670" y="447"/>
              </a:cxn>
              <a:cxn ang="0">
                <a:pos x="1636" y="394"/>
              </a:cxn>
              <a:cxn ang="0">
                <a:pos x="1512" y="348"/>
              </a:cxn>
              <a:cxn ang="0">
                <a:pos x="1411" y="409"/>
              </a:cxn>
              <a:cxn ang="0">
                <a:pos x="1338" y="405"/>
              </a:cxn>
              <a:cxn ang="0">
                <a:pos x="1247" y="384"/>
              </a:cxn>
              <a:cxn ang="0">
                <a:pos x="1317" y="268"/>
              </a:cxn>
              <a:cxn ang="0">
                <a:pos x="1338" y="184"/>
              </a:cxn>
              <a:cxn ang="0">
                <a:pos x="1291" y="68"/>
              </a:cxn>
              <a:cxn ang="0">
                <a:pos x="1124" y="135"/>
              </a:cxn>
              <a:cxn ang="0">
                <a:pos x="1003" y="170"/>
              </a:cxn>
              <a:cxn ang="0">
                <a:pos x="960" y="187"/>
              </a:cxn>
              <a:cxn ang="0">
                <a:pos x="812" y="176"/>
              </a:cxn>
              <a:cxn ang="0">
                <a:pos x="811" y="67"/>
              </a:cxn>
              <a:cxn ang="0">
                <a:pos x="745" y="0"/>
              </a:cxn>
              <a:cxn ang="0">
                <a:pos x="700" y="31"/>
              </a:cxn>
              <a:cxn ang="0">
                <a:pos x="589" y="70"/>
              </a:cxn>
              <a:cxn ang="0">
                <a:pos x="560" y="198"/>
              </a:cxn>
              <a:cxn ang="0">
                <a:pos x="453" y="258"/>
              </a:cxn>
              <a:cxn ang="0">
                <a:pos x="286" y="197"/>
              </a:cxn>
              <a:cxn ang="0">
                <a:pos x="253" y="240"/>
              </a:cxn>
              <a:cxn ang="0">
                <a:pos x="198" y="311"/>
              </a:cxn>
              <a:cxn ang="0">
                <a:pos x="246" y="388"/>
              </a:cxn>
              <a:cxn ang="0">
                <a:pos x="194" y="560"/>
              </a:cxn>
              <a:cxn ang="0">
                <a:pos x="100" y="567"/>
              </a:cxn>
              <a:cxn ang="0">
                <a:pos x="16" y="687"/>
              </a:cxn>
              <a:cxn ang="0">
                <a:pos x="22" y="824"/>
              </a:cxn>
              <a:cxn ang="0">
                <a:pos x="120" y="905"/>
              </a:cxn>
              <a:cxn ang="0">
                <a:pos x="191" y="949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kern="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684961" y="2764980"/>
            <a:ext cx="69850" cy="49213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107" y="18"/>
              </a:cxn>
              <a:cxn ang="0">
                <a:pos x="112" y="12"/>
              </a:cxn>
              <a:cxn ang="0">
                <a:pos x="117" y="8"/>
              </a:cxn>
              <a:cxn ang="0">
                <a:pos x="122" y="5"/>
              </a:cxn>
              <a:cxn ang="0">
                <a:pos x="127" y="3"/>
              </a:cxn>
              <a:cxn ang="0">
                <a:pos x="137" y="1"/>
              </a:cxn>
              <a:cxn ang="0">
                <a:pos x="148" y="0"/>
              </a:cxn>
              <a:cxn ang="0">
                <a:pos x="151" y="0"/>
              </a:cxn>
              <a:cxn ang="0">
                <a:pos x="161" y="0"/>
              </a:cxn>
              <a:cxn ang="0">
                <a:pos x="161" y="92"/>
              </a:cxn>
              <a:cxn ang="0">
                <a:pos x="155" y="93"/>
              </a:cxn>
              <a:cxn ang="0">
                <a:pos x="150" y="93"/>
              </a:cxn>
              <a:cxn ang="0">
                <a:pos x="145" y="92"/>
              </a:cxn>
              <a:cxn ang="0">
                <a:pos x="140" y="91"/>
              </a:cxn>
              <a:cxn ang="0">
                <a:pos x="129" y="88"/>
              </a:cxn>
              <a:cxn ang="0">
                <a:pos x="120" y="82"/>
              </a:cxn>
              <a:cxn ang="0">
                <a:pos x="111" y="75"/>
              </a:cxn>
              <a:cxn ang="0">
                <a:pos x="104" y="67"/>
              </a:cxn>
              <a:cxn ang="0">
                <a:pos x="97" y="59"/>
              </a:cxn>
              <a:cxn ang="0">
                <a:pos x="94" y="49"/>
              </a:cxn>
              <a:cxn ang="0">
                <a:pos x="92" y="50"/>
              </a:cxn>
              <a:cxn ang="0">
                <a:pos x="89" y="51"/>
              </a:cxn>
              <a:cxn ang="0">
                <a:pos x="86" y="51"/>
              </a:cxn>
              <a:cxn ang="0">
                <a:pos x="84" y="51"/>
              </a:cxn>
              <a:cxn ang="0">
                <a:pos x="78" y="50"/>
              </a:cxn>
              <a:cxn ang="0">
                <a:pos x="74" y="49"/>
              </a:cxn>
              <a:cxn ang="0">
                <a:pos x="65" y="48"/>
              </a:cxn>
              <a:cxn ang="0">
                <a:pos x="55" y="45"/>
              </a:cxn>
              <a:cxn ang="0">
                <a:pos x="44" y="40"/>
              </a:cxn>
              <a:cxn ang="0">
                <a:pos x="32" y="34"/>
              </a:cxn>
              <a:cxn ang="0">
                <a:pos x="21" y="26"/>
              </a:cxn>
              <a:cxn ang="0">
                <a:pos x="12" y="18"/>
              </a:cxn>
              <a:cxn ang="0">
                <a:pos x="8" y="14"/>
              </a:cxn>
              <a:cxn ang="0">
                <a:pos x="5" y="9"/>
              </a:cxn>
              <a:cxn ang="0">
                <a:pos x="3" y="5"/>
              </a:cxn>
              <a:cxn ang="0">
                <a:pos x="0" y="0"/>
              </a:cxn>
              <a:cxn ang="0">
                <a:pos x="94" y="0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83311" y="2639569"/>
            <a:ext cx="82550" cy="160337"/>
          </a:xfrm>
          <a:custGeom>
            <a:avLst/>
            <a:gdLst/>
            <a:ahLst/>
            <a:cxnLst>
              <a:cxn ang="0">
                <a:pos x="38" y="3"/>
              </a:cxn>
              <a:cxn ang="0">
                <a:pos x="37" y="0"/>
              </a:cxn>
              <a:cxn ang="0">
                <a:pos x="57" y="3"/>
              </a:cxn>
              <a:cxn ang="0">
                <a:pos x="110" y="14"/>
              </a:cxn>
              <a:cxn ang="0">
                <a:pos x="155" y="25"/>
              </a:cxn>
              <a:cxn ang="0">
                <a:pos x="181" y="28"/>
              </a:cxn>
              <a:cxn ang="0">
                <a:pos x="192" y="35"/>
              </a:cxn>
              <a:cxn ang="0">
                <a:pos x="188" y="47"/>
              </a:cxn>
              <a:cxn ang="0">
                <a:pos x="175" y="82"/>
              </a:cxn>
              <a:cxn ang="0">
                <a:pos x="158" y="127"/>
              </a:cxn>
              <a:cxn ang="0">
                <a:pos x="147" y="165"/>
              </a:cxn>
              <a:cxn ang="0">
                <a:pos x="146" y="207"/>
              </a:cxn>
              <a:cxn ang="0">
                <a:pos x="144" y="249"/>
              </a:cxn>
              <a:cxn ang="0">
                <a:pos x="134" y="277"/>
              </a:cxn>
              <a:cxn ang="0">
                <a:pos x="106" y="296"/>
              </a:cxn>
              <a:cxn ang="0">
                <a:pos x="83" y="303"/>
              </a:cxn>
              <a:cxn ang="0">
                <a:pos x="72" y="307"/>
              </a:cxn>
              <a:cxn ang="0">
                <a:pos x="52" y="305"/>
              </a:cxn>
              <a:cxn ang="0">
                <a:pos x="32" y="291"/>
              </a:cxn>
              <a:cxn ang="0">
                <a:pos x="30" y="277"/>
              </a:cxn>
              <a:cxn ang="0">
                <a:pos x="22" y="257"/>
              </a:cxn>
              <a:cxn ang="0">
                <a:pos x="10" y="231"/>
              </a:cxn>
              <a:cxn ang="0">
                <a:pos x="2" y="211"/>
              </a:cxn>
              <a:cxn ang="0">
                <a:pos x="0" y="197"/>
              </a:cxn>
              <a:cxn ang="0">
                <a:pos x="0" y="180"/>
              </a:cxn>
              <a:cxn ang="0">
                <a:pos x="2" y="165"/>
              </a:cxn>
              <a:cxn ang="0">
                <a:pos x="11" y="145"/>
              </a:cxn>
              <a:cxn ang="0">
                <a:pos x="33" y="109"/>
              </a:cxn>
              <a:cxn ang="0">
                <a:pos x="48" y="81"/>
              </a:cxn>
              <a:cxn ang="0">
                <a:pos x="52" y="62"/>
              </a:cxn>
              <a:cxn ang="0">
                <a:pos x="53" y="41"/>
              </a:cxn>
              <a:cxn ang="0">
                <a:pos x="55" y="30"/>
              </a:cxn>
              <a:cxn ang="0">
                <a:pos x="57" y="26"/>
              </a:cxn>
              <a:cxn ang="0">
                <a:pos x="60" y="22"/>
              </a:cxn>
              <a:cxn ang="0">
                <a:pos x="44" y="7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64274" y="2125197"/>
            <a:ext cx="171450" cy="269875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95" y="13"/>
              </a:cxn>
              <a:cxn ang="0">
                <a:pos x="116" y="23"/>
              </a:cxn>
              <a:cxn ang="0">
                <a:pos x="80" y="47"/>
              </a:cxn>
              <a:cxn ang="0">
                <a:pos x="64" y="62"/>
              </a:cxn>
              <a:cxn ang="0">
                <a:pos x="77" y="69"/>
              </a:cxn>
              <a:cxn ang="0">
                <a:pos x="167" y="79"/>
              </a:cxn>
              <a:cxn ang="0">
                <a:pos x="210" y="109"/>
              </a:cxn>
              <a:cxn ang="0">
                <a:pos x="154" y="127"/>
              </a:cxn>
              <a:cxn ang="0">
                <a:pos x="147" y="138"/>
              </a:cxn>
              <a:cxn ang="0">
                <a:pos x="191" y="143"/>
              </a:cxn>
              <a:cxn ang="0">
                <a:pos x="211" y="156"/>
              </a:cxn>
              <a:cxn ang="0">
                <a:pos x="243" y="191"/>
              </a:cxn>
              <a:cxn ang="0">
                <a:pos x="258" y="212"/>
              </a:cxn>
              <a:cxn ang="0">
                <a:pos x="260" y="237"/>
              </a:cxn>
              <a:cxn ang="0">
                <a:pos x="272" y="254"/>
              </a:cxn>
              <a:cxn ang="0">
                <a:pos x="286" y="279"/>
              </a:cxn>
              <a:cxn ang="0">
                <a:pos x="306" y="297"/>
              </a:cxn>
              <a:cxn ang="0">
                <a:pos x="327" y="320"/>
              </a:cxn>
              <a:cxn ang="0">
                <a:pos x="346" y="337"/>
              </a:cxn>
              <a:cxn ang="0">
                <a:pos x="370" y="341"/>
              </a:cxn>
              <a:cxn ang="0">
                <a:pos x="396" y="365"/>
              </a:cxn>
              <a:cxn ang="0">
                <a:pos x="395" y="395"/>
              </a:cxn>
              <a:cxn ang="0">
                <a:pos x="382" y="404"/>
              </a:cxn>
              <a:cxn ang="0">
                <a:pos x="367" y="415"/>
              </a:cxn>
              <a:cxn ang="0">
                <a:pos x="368" y="426"/>
              </a:cxn>
              <a:cxn ang="0">
                <a:pos x="376" y="443"/>
              </a:cxn>
              <a:cxn ang="0">
                <a:pos x="359" y="463"/>
              </a:cxn>
              <a:cxn ang="0">
                <a:pos x="146" y="500"/>
              </a:cxn>
              <a:cxn ang="0">
                <a:pos x="68" y="508"/>
              </a:cxn>
              <a:cxn ang="0">
                <a:pos x="53" y="518"/>
              </a:cxn>
              <a:cxn ang="0">
                <a:pos x="58" y="493"/>
              </a:cxn>
              <a:cxn ang="0">
                <a:pos x="71" y="476"/>
              </a:cxn>
              <a:cxn ang="0">
                <a:pos x="114" y="458"/>
              </a:cxn>
              <a:cxn ang="0">
                <a:pos x="172" y="439"/>
              </a:cxn>
              <a:cxn ang="0">
                <a:pos x="179" y="426"/>
              </a:cxn>
              <a:cxn ang="0">
                <a:pos x="171" y="434"/>
              </a:cxn>
              <a:cxn ang="0">
                <a:pos x="111" y="432"/>
              </a:cxn>
              <a:cxn ang="0">
                <a:pos x="76" y="420"/>
              </a:cxn>
              <a:cxn ang="0">
                <a:pos x="77" y="402"/>
              </a:cxn>
              <a:cxn ang="0">
                <a:pos x="95" y="391"/>
              </a:cxn>
              <a:cxn ang="0">
                <a:pos x="87" y="352"/>
              </a:cxn>
              <a:cxn ang="0">
                <a:pos x="105" y="329"/>
              </a:cxn>
              <a:cxn ang="0">
                <a:pos x="154" y="309"/>
              </a:cxn>
              <a:cxn ang="0">
                <a:pos x="172" y="291"/>
              </a:cxn>
              <a:cxn ang="0">
                <a:pos x="148" y="271"/>
              </a:cxn>
              <a:cxn ang="0">
                <a:pos x="139" y="247"/>
              </a:cxn>
              <a:cxn ang="0">
                <a:pos x="94" y="239"/>
              </a:cxn>
              <a:cxn ang="0">
                <a:pos x="80" y="216"/>
              </a:cxn>
              <a:cxn ang="0">
                <a:pos x="90" y="192"/>
              </a:cxn>
              <a:cxn ang="0">
                <a:pos x="100" y="168"/>
              </a:cxn>
              <a:cxn ang="0">
                <a:pos x="73" y="186"/>
              </a:cxn>
              <a:cxn ang="0">
                <a:pos x="22" y="162"/>
              </a:cxn>
              <a:cxn ang="0">
                <a:pos x="20" y="142"/>
              </a:cxn>
              <a:cxn ang="0">
                <a:pos x="14" y="131"/>
              </a:cxn>
              <a:cxn ang="0">
                <a:pos x="20" y="63"/>
              </a:cxn>
              <a:cxn ang="0">
                <a:pos x="19" y="49"/>
              </a:cxn>
              <a:cxn ang="0">
                <a:pos x="4" y="40"/>
              </a:cxn>
              <a:cxn ang="0">
                <a:pos x="20" y="19"/>
              </a:cxn>
              <a:cxn ang="0">
                <a:pos x="3" y="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623051" y="2428404"/>
            <a:ext cx="169862" cy="76200"/>
          </a:xfrm>
          <a:custGeom>
            <a:avLst/>
            <a:gdLst/>
            <a:ahLst/>
            <a:cxnLst>
              <a:cxn ang="0">
                <a:pos x="190" y="21"/>
              </a:cxn>
              <a:cxn ang="0">
                <a:pos x="177" y="31"/>
              </a:cxn>
              <a:cxn ang="0">
                <a:pos x="174" y="45"/>
              </a:cxn>
              <a:cxn ang="0">
                <a:pos x="168" y="53"/>
              </a:cxn>
              <a:cxn ang="0">
                <a:pos x="166" y="61"/>
              </a:cxn>
              <a:cxn ang="0">
                <a:pos x="177" y="74"/>
              </a:cxn>
              <a:cxn ang="0">
                <a:pos x="155" y="86"/>
              </a:cxn>
              <a:cxn ang="0">
                <a:pos x="108" y="96"/>
              </a:cxn>
              <a:cxn ang="0">
                <a:pos x="77" y="97"/>
              </a:cxn>
              <a:cxn ang="0">
                <a:pos x="52" y="95"/>
              </a:cxn>
              <a:cxn ang="0">
                <a:pos x="4" y="111"/>
              </a:cxn>
              <a:cxn ang="0">
                <a:pos x="0" y="129"/>
              </a:cxn>
              <a:cxn ang="0">
                <a:pos x="4" y="131"/>
              </a:cxn>
              <a:cxn ang="0">
                <a:pos x="12" y="131"/>
              </a:cxn>
              <a:cxn ang="0">
                <a:pos x="51" y="129"/>
              </a:cxn>
              <a:cxn ang="0">
                <a:pos x="114" y="127"/>
              </a:cxn>
              <a:cxn ang="0">
                <a:pos x="123" y="134"/>
              </a:cxn>
              <a:cxn ang="0">
                <a:pos x="137" y="141"/>
              </a:cxn>
              <a:cxn ang="0">
                <a:pos x="159" y="147"/>
              </a:cxn>
              <a:cxn ang="0">
                <a:pos x="185" y="148"/>
              </a:cxn>
              <a:cxn ang="0">
                <a:pos x="210" y="148"/>
              </a:cxn>
              <a:cxn ang="0">
                <a:pos x="233" y="148"/>
              </a:cxn>
              <a:cxn ang="0">
                <a:pos x="255" y="148"/>
              </a:cxn>
              <a:cxn ang="0">
                <a:pos x="275" y="143"/>
              </a:cxn>
              <a:cxn ang="0">
                <a:pos x="301" y="134"/>
              </a:cxn>
              <a:cxn ang="0">
                <a:pos x="334" y="121"/>
              </a:cxn>
              <a:cxn ang="0">
                <a:pos x="353" y="103"/>
              </a:cxn>
              <a:cxn ang="0">
                <a:pos x="372" y="72"/>
              </a:cxn>
              <a:cxn ang="0">
                <a:pos x="376" y="52"/>
              </a:cxn>
              <a:cxn ang="0">
                <a:pos x="363" y="44"/>
              </a:cxn>
              <a:cxn ang="0">
                <a:pos x="357" y="32"/>
              </a:cxn>
              <a:cxn ang="0">
                <a:pos x="347" y="22"/>
              </a:cxn>
              <a:cxn ang="0">
                <a:pos x="334" y="17"/>
              </a:cxn>
              <a:cxn ang="0">
                <a:pos x="319" y="8"/>
              </a:cxn>
              <a:cxn ang="0">
                <a:pos x="203" y="18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115299" y="2277618"/>
            <a:ext cx="1281112" cy="1038225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00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807203" y="1818804"/>
            <a:ext cx="220662" cy="273051"/>
          </a:xfrm>
          <a:custGeom>
            <a:avLst/>
            <a:gdLst/>
            <a:ahLst/>
            <a:cxnLst>
              <a:cxn ang="0">
                <a:pos x="345" y="493"/>
              </a:cxn>
              <a:cxn ang="0">
                <a:pos x="256" y="505"/>
              </a:cxn>
              <a:cxn ang="0">
                <a:pos x="235" y="517"/>
              </a:cxn>
              <a:cxn ang="0">
                <a:pos x="210" y="522"/>
              </a:cxn>
              <a:cxn ang="0">
                <a:pos x="155" y="524"/>
              </a:cxn>
              <a:cxn ang="0">
                <a:pos x="106" y="522"/>
              </a:cxn>
              <a:cxn ang="0">
                <a:pos x="94" y="516"/>
              </a:cxn>
              <a:cxn ang="0">
                <a:pos x="71" y="509"/>
              </a:cxn>
              <a:cxn ang="0">
                <a:pos x="36" y="496"/>
              </a:cxn>
              <a:cxn ang="0">
                <a:pos x="22" y="486"/>
              </a:cxn>
              <a:cxn ang="0">
                <a:pos x="20" y="477"/>
              </a:cxn>
              <a:cxn ang="0">
                <a:pos x="27" y="463"/>
              </a:cxn>
              <a:cxn ang="0">
                <a:pos x="32" y="445"/>
              </a:cxn>
              <a:cxn ang="0">
                <a:pos x="28" y="432"/>
              </a:cxn>
              <a:cxn ang="0">
                <a:pos x="10" y="417"/>
              </a:cxn>
              <a:cxn ang="0">
                <a:pos x="1" y="407"/>
              </a:cxn>
              <a:cxn ang="0">
                <a:pos x="1" y="391"/>
              </a:cxn>
              <a:cxn ang="0">
                <a:pos x="17" y="360"/>
              </a:cxn>
              <a:cxn ang="0">
                <a:pos x="48" y="328"/>
              </a:cxn>
              <a:cxn ang="0">
                <a:pos x="86" y="299"/>
              </a:cxn>
              <a:cxn ang="0">
                <a:pos x="124" y="279"/>
              </a:cxn>
              <a:cxn ang="0">
                <a:pos x="160" y="272"/>
              </a:cxn>
              <a:cxn ang="0">
                <a:pos x="155" y="264"/>
              </a:cxn>
              <a:cxn ang="0">
                <a:pos x="142" y="259"/>
              </a:cxn>
              <a:cxn ang="0">
                <a:pos x="133" y="251"/>
              </a:cxn>
              <a:cxn ang="0">
                <a:pos x="127" y="229"/>
              </a:cxn>
              <a:cxn ang="0">
                <a:pos x="124" y="195"/>
              </a:cxn>
              <a:cxn ang="0">
                <a:pos x="115" y="161"/>
              </a:cxn>
              <a:cxn ang="0">
                <a:pos x="100" y="134"/>
              </a:cxn>
              <a:cxn ang="0">
                <a:pos x="68" y="90"/>
              </a:cxn>
              <a:cxn ang="0">
                <a:pos x="86" y="60"/>
              </a:cxn>
              <a:cxn ang="0">
                <a:pos x="106" y="56"/>
              </a:cxn>
              <a:cxn ang="0">
                <a:pos x="130" y="58"/>
              </a:cxn>
              <a:cxn ang="0">
                <a:pos x="139" y="61"/>
              </a:cxn>
              <a:cxn ang="0">
                <a:pos x="160" y="56"/>
              </a:cxn>
              <a:cxn ang="0">
                <a:pos x="164" y="33"/>
              </a:cxn>
              <a:cxn ang="0">
                <a:pos x="171" y="13"/>
              </a:cxn>
              <a:cxn ang="0">
                <a:pos x="187" y="0"/>
              </a:cxn>
              <a:cxn ang="0">
                <a:pos x="225" y="0"/>
              </a:cxn>
              <a:cxn ang="0">
                <a:pos x="254" y="8"/>
              </a:cxn>
              <a:cxn ang="0">
                <a:pos x="280" y="21"/>
              </a:cxn>
              <a:cxn ang="0">
                <a:pos x="279" y="62"/>
              </a:cxn>
              <a:cxn ang="0">
                <a:pos x="292" y="77"/>
              </a:cxn>
              <a:cxn ang="0">
                <a:pos x="319" y="94"/>
              </a:cxn>
              <a:cxn ang="0">
                <a:pos x="356" y="119"/>
              </a:cxn>
              <a:cxn ang="0">
                <a:pos x="346" y="135"/>
              </a:cxn>
              <a:cxn ang="0">
                <a:pos x="340" y="153"/>
              </a:cxn>
              <a:cxn ang="0">
                <a:pos x="344" y="176"/>
              </a:cxn>
              <a:cxn ang="0">
                <a:pos x="363" y="200"/>
              </a:cxn>
              <a:cxn ang="0">
                <a:pos x="378" y="210"/>
              </a:cxn>
              <a:cxn ang="0">
                <a:pos x="386" y="256"/>
              </a:cxn>
              <a:cxn ang="0">
                <a:pos x="404" y="289"/>
              </a:cxn>
              <a:cxn ang="0">
                <a:pos x="432" y="315"/>
              </a:cxn>
              <a:cxn ang="0">
                <a:pos x="463" y="335"/>
              </a:cxn>
              <a:cxn ang="0">
                <a:pos x="466" y="390"/>
              </a:cxn>
              <a:cxn ang="0">
                <a:pos x="397" y="457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543674" y="2236324"/>
            <a:ext cx="182562" cy="238125"/>
          </a:xfrm>
          <a:custGeom>
            <a:avLst/>
            <a:gdLst/>
            <a:ahLst/>
            <a:cxnLst>
              <a:cxn ang="0">
                <a:pos x="426" y="190"/>
              </a:cxn>
              <a:cxn ang="0">
                <a:pos x="408" y="128"/>
              </a:cxn>
              <a:cxn ang="0">
                <a:pos x="387" y="85"/>
              </a:cxn>
              <a:cxn ang="0">
                <a:pos x="367" y="62"/>
              </a:cxn>
              <a:cxn ang="0">
                <a:pos x="356" y="58"/>
              </a:cxn>
              <a:cxn ang="0">
                <a:pos x="335" y="45"/>
              </a:cxn>
              <a:cxn ang="0">
                <a:pos x="314" y="38"/>
              </a:cxn>
              <a:cxn ang="0">
                <a:pos x="293" y="38"/>
              </a:cxn>
              <a:cxn ang="0">
                <a:pos x="276" y="42"/>
              </a:cxn>
              <a:cxn ang="0">
                <a:pos x="251" y="58"/>
              </a:cxn>
              <a:cxn ang="0">
                <a:pos x="235" y="67"/>
              </a:cxn>
              <a:cxn ang="0">
                <a:pos x="217" y="66"/>
              </a:cxn>
              <a:cxn ang="0">
                <a:pos x="174" y="37"/>
              </a:cxn>
              <a:cxn ang="0">
                <a:pos x="113" y="0"/>
              </a:cxn>
              <a:cxn ang="0">
                <a:pos x="95" y="23"/>
              </a:cxn>
              <a:cxn ang="0">
                <a:pos x="93" y="43"/>
              </a:cxn>
              <a:cxn ang="0">
                <a:pos x="98" y="52"/>
              </a:cxn>
              <a:cxn ang="0">
                <a:pos x="119" y="69"/>
              </a:cxn>
              <a:cxn ang="0">
                <a:pos x="99" y="73"/>
              </a:cxn>
              <a:cxn ang="0">
                <a:pos x="66" y="93"/>
              </a:cxn>
              <a:cxn ang="0">
                <a:pos x="58" y="119"/>
              </a:cxn>
              <a:cxn ang="0">
                <a:pos x="45" y="138"/>
              </a:cxn>
              <a:cxn ang="0">
                <a:pos x="35" y="156"/>
              </a:cxn>
              <a:cxn ang="0">
                <a:pos x="33" y="179"/>
              </a:cxn>
              <a:cxn ang="0">
                <a:pos x="7" y="238"/>
              </a:cxn>
              <a:cxn ang="0">
                <a:pos x="15" y="246"/>
              </a:cxn>
              <a:cxn ang="0">
                <a:pos x="26" y="247"/>
              </a:cxn>
              <a:cxn ang="0">
                <a:pos x="33" y="346"/>
              </a:cxn>
              <a:cxn ang="0">
                <a:pos x="93" y="353"/>
              </a:cxn>
              <a:cxn ang="0">
                <a:pos x="104" y="376"/>
              </a:cxn>
              <a:cxn ang="0">
                <a:pos x="89" y="425"/>
              </a:cxn>
              <a:cxn ang="0">
                <a:pos x="109" y="447"/>
              </a:cxn>
              <a:cxn ang="0">
                <a:pos x="152" y="447"/>
              </a:cxn>
              <a:cxn ang="0">
                <a:pos x="205" y="444"/>
              </a:cxn>
              <a:cxn ang="0">
                <a:pos x="276" y="446"/>
              </a:cxn>
              <a:cxn ang="0">
                <a:pos x="343" y="442"/>
              </a:cxn>
              <a:cxn ang="0">
                <a:pos x="372" y="432"/>
              </a:cxn>
              <a:cxn ang="0">
                <a:pos x="359" y="413"/>
              </a:cxn>
              <a:cxn ang="0">
                <a:pos x="369" y="403"/>
              </a:cxn>
              <a:cxn ang="0">
                <a:pos x="372" y="382"/>
              </a:cxn>
              <a:cxn ang="0">
                <a:pos x="380" y="367"/>
              </a:cxn>
              <a:cxn ang="0">
                <a:pos x="343" y="344"/>
              </a:cxn>
              <a:cxn ang="0">
                <a:pos x="325" y="323"/>
              </a:cxn>
              <a:cxn ang="0">
                <a:pos x="311" y="294"/>
              </a:cxn>
              <a:cxn ang="0">
                <a:pos x="294" y="277"/>
              </a:cxn>
              <a:cxn ang="0">
                <a:pos x="314" y="275"/>
              </a:cxn>
              <a:cxn ang="0">
                <a:pos x="346" y="271"/>
              </a:cxn>
              <a:cxn ang="0">
                <a:pos x="369" y="260"/>
              </a:cxn>
              <a:cxn ang="0">
                <a:pos x="407" y="240"/>
              </a:cxn>
              <a:cxn ang="0">
                <a:pos x="438" y="235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569089" y="2493519"/>
            <a:ext cx="250825" cy="274637"/>
          </a:xfrm>
          <a:custGeom>
            <a:avLst/>
            <a:gdLst/>
            <a:ahLst/>
            <a:cxnLst>
              <a:cxn ang="0">
                <a:pos x="327" y="88"/>
              </a:cxn>
              <a:cxn ang="0">
                <a:pos x="312" y="85"/>
              </a:cxn>
              <a:cxn ang="0">
                <a:pos x="301" y="79"/>
              </a:cxn>
              <a:cxn ang="0">
                <a:pos x="275" y="66"/>
              </a:cxn>
              <a:cxn ang="0">
                <a:pos x="251" y="78"/>
              </a:cxn>
              <a:cxn ang="0">
                <a:pos x="246" y="105"/>
              </a:cxn>
              <a:cxn ang="0">
                <a:pos x="253" y="153"/>
              </a:cxn>
              <a:cxn ang="0">
                <a:pos x="270" y="172"/>
              </a:cxn>
              <a:cxn ang="0">
                <a:pos x="287" y="178"/>
              </a:cxn>
              <a:cxn ang="0">
                <a:pos x="298" y="191"/>
              </a:cxn>
              <a:cxn ang="0">
                <a:pos x="351" y="225"/>
              </a:cxn>
              <a:cxn ang="0">
                <a:pos x="449" y="309"/>
              </a:cxn>
              <a:cxn ang="0">
                <a:pos x="477" y="322"/>
              </a:cxn>
              <a:cxn ang="0">
                <a:pos x="504" y="328"/>
              </a:cxn>
              <a:cxn ang="0">
                <a:pos x="536" y="356"/>
              </a:cxn>
              <a:cxn ang="0">
                <a:pos x="578" y="376"/>
              </a:cxn>
              <a:cxn ang="0">
                <a:pos x="565" y="407"/>
              </a:cxn>
              <a:cxn ang="0">
                <a:pos x="526" y="383"/>
              </a:cxn>
              <a:cxn ang="0">
                <a:pos x="508" y="376"/>
              </a:cxn>
              <a:cxn ang="0">
                <a:pos x="498" y="397"/>
              </a:cxn>
              <a:cxn ang="0">
                <a:pos x="506" y="426"/>
              </a:cxn>
              <a:cxn ang="0">
                <a:pos x="514" y="442"/>
              </a:cxn>
              <a:cxn ang="0">
                <a:pos x="500" y="468"/>
              </a:cxn>
              <a:cxn ang="0">
                <a:pos x="483" y="505"/>
              </a:cxn>
              <a:cxn ang="0">
                <a:pos x="465" y="522"/>
              </a:cxn>
              <a:cxn ang="0">
                <a:pos x="436" y="505"/>
              </a:cxn>
              <a:cxn ang="0">
                <a:pos x="456" y="484"/>
              </a:cxn>
              <a:cxn ang="0">
                <a:pos x="465" y="467"/>
              </a:cxn>
              <a:cxn ang="0">
                <a:pos x="461" y="441"/>
              </a:cxn>
              <a:cxn ang="0">
                <a:pos x="427" y="395"/>
              </a:cxn>
              <a:cxn ang="0">
                <a:pos x="385" y="369"/>
              </a:cxn>
              <a:cxn ang="0">
                <a:pos x="355" y="356"/>
              </a:cxn>
              <a:cxn ang="0">
                <a:pos x="318" y="330"/>
              </a:cxn>
              <a:cxn ang="0">
                <a:pos x="268" y="315"/>
              </a:cxn>
              <a:cxn ang="0">
                <a:pos x="218" y="285"/>
              </a:cxn>
              <a:cxn ang="0">
                <a:pos x="162" y="229"/>
              </a:cxn>
              <a:cxn ang="0">
                <a:pos x="126" y="168"/>
              </a:cxn>
              <a:cxn ang="0">
                <a:pos x="77" y="154"/>
              </a:cxn>
              <a:cxn ang="0">
                <a:pos x="51" y="157"/>
              </a:cxn>
              <a:cxn ang="0">
                <a:pos x="15" y="165"/>
              </a:cxn>
              <a:cxn ang="0">
                <a:pos x="3" y="133"/>
              </a:cxn>
              <a:cxn ang="0">
                <a:pos x="1" y="93"/>
              </a:cxn>
              <a:cxn ang="0">
                <a:pos x="6" y="49"/>
              </a:cxn>
              <a:cxn ang="0">
                <a:pos x="45" y="41"/>
              </a:cxn>
              <a:cxn ang="0">
                <a:pos x="68" y="33"/>
              </a:cxn>
              <a:cxn ang="0">
                <a:pos x="83" y="48"/>
              </a:cxn>
              <a:cxn ang="0">
                <a:pos x="104" y="44"/>
              </a:cxn>
              <a:cxn ang="0">
                <a:pos x="149" y="16"/>
              </a:cxn>
              <a:cxn ang="0">
                <a:pos x="239" y="0"/>
              </a:cxn>
              <a:cxn ang="0">
                <a:pos x="257" y="13"/>
              </a:cxn>
              <a:cxn ang="0">
                <a:pos x="332" y="19"/>
              </a:cxn>
              <a:cxn ang="0">
                <a:pos x="322" y="65"/>
              </a:cxn>
              <a:cxn ang="0">
                <a:pos x="325" y="90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586536" y="2661767"/>
            <a:ext cx="33338" cy="82551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7"/>
              </a:cxn>
              <a:cxn ang="0">
                <a:pos x="11" y="36"/>
              </a:cxn>
              <a:cxn ang="0">
                <a:pos x="16" y="35"/>
              </a:cxn>
              <a:cxn ang="0">
                <a:pos x="19" y="33"/>
              </a:cxn>
              <a:cxn ang="0">
                <a:pos x="26" y="28"/>
              </a:cxn>
              <a:cxn ang="0">
                <a:pos x="31" y="22"/>
              </a:cxn>
              <a:cxn ang="0">
                <a:pos x="37" y="16"/>
              </a:cxn>
              <a:cxn ang="0">
                <a:pos x="41" y="10"/>
              </a:cxn>
              <a:cxn ang="0">
                <a:pos x="46" y="5"/>
              </a:cxn>
              <a:cxn ang="0">
                <a:pos x="53" y="0"/>
              </a:cxn>
              <a:cxn ang="0">
                <a:pos x="57" y="3"/>
              </a:cxn>
              <a:cxn ang="0">
                <a:pos x="62" y="7"/>
              </a:cxn>
              <a:cxn ang="0">
                <a:pos x="64" y="10"/>
              </a:cxn>
              <a:cxn ang="0">
                <a:pos x="66" y="14"/>
              </a:cxn>
              <a:cxn ang="0">
                <a:pos x="69" y="22"/>
              </a:cxn>
              <a:cxn ang="0">
                <a:pos x="72" y="32"/>
              </a:cxn>
              <a:cxn ang="0">
                <a:pos x="73" y="40"/>
              </a:cxn>
              <a:cxn ang="0">
                <a:pos x="74" y="49"/>
              </a:cxn>
              <a:cxn ang="0">
                <a:pos x="76" y="58"/>
              </a:cxn>
              <a:cxn ang="0">
                <a:pos x="79" y="67"/>
              </a:cxn>
              <a:cxn ang="0">
                <a:pos x="79" y="98"/>
              </a:cxn>
              <a:cxn ang="0">
                <a:pos x="68" y="115"/>
              </a:cxn>
              <a:cxn ang="0">
                <a:pos x="59" y="129"/>
              </a:cxn>
              <a:cxn ang="0">
                <a:pos x="53" y="136"/>
              </a:cxn>
              <a:cxn ang="0">
                <a:pos x="50" y="144"/>
              </a:cxn>
              <a:cxn ang="0">
                <a:pos x="48" y="151"/>
              </a:cxn>
              <a:cxn ang="0">
                <a:pos x="46" y="160"/>
              </a:cxn>
              <a:cxn ang="0">
                <a:pos x="40" y="155"/>
              </a:cxn>
              <a:cxn ang="0">
                <a:pos x="33" y="150"/>
              </a:cxn>
              <a:cxn ang="0">
                <a:pos x="28" y="144"/>
              </a:cxn>
              <a:cxn ang="0">
                <a:pos x="22" y="137"/>
              </a:cxn>
              <a:cxn ang="0">
                <a:pos x="18" y="130"/>
              </a:cxn>
              <a:cxn ang="0">
                <a:pos x="15" y="123"/>
              </a:cxn>
              <a:cxn ang="0">
                <a:pos x="11" y="115"/>
              </a:cxn>
              <a:cxn ang="0">
                <a:pos x="8" y="108"/>
              </a:cxn>
              <a:cxn ang="0">
                <a:pos x="4" y="91"/>
              </a:cxn>
              <a:cxn ang="0">
                <a:pos x="1" y="73"/>
              </a:cxn>
              <a:cxn ang="0">
                <a:pos x="0" y="55"/>
              </a:cxn>
              <a:cxn ang="0">
                <a:pos x="0" y="37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905880" y="3722228"/>
            <a:ext cx="473075" cy="212725"/>
            <a:chOff x="4488" y="2394"/>
            <a:chExt cx="358" cy="124"/>
          </a:xfrm>
        </p:grpSpPr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/>
              <a:ahLst/>
              <a:cxnLst>
                <a:cxn ang="0">
                  <a:pos x="424" y="198"/>
                </a:cxn>
                <a:cxn ang="0">
                  <a:pos x="387" y="193"/>
                </a:cxn>
                <a:cxn ang="0">
                  <a:pos x="367" y="203"/>
                </a:cxn>
                <a:cxn ang="0">
                  <a:pos x="354" y="217"/>
                </a:cxn>
                <a:cxn ang="0">
                  <a:pos x="347" y="254"/>
                </a:cxn>
                <a:cxn ang="0">
                  <a:pos x="327" y="306"/>
                </a:cxn>
                <a:cxn ang="0">
                  <a:pos x="305" y="335"/>
                </a:cxn>
                <a:cxn ang="0">
                  <a:pos x="289" y="350"/>
                </a:cxn>
                <a:cxn ang="0">
                  <a:pos x="271" y="359"/>
                </a:cxn>
                <a:cxn ang="0">
                  <a:pos x="256" y="368"/>
                </a:cxn>
                <a:cxn ang="0">
                  <a:pos x="253" y="376"/>
                </a:cxn>
                <a:cxn ang="0">
                  <a:pos x="215" y="370"/>
                </a:cxn>
                <a:cxn ang="0">
                  <a:pos x="183" y="367"/>
                </a:cxn>
                <a:cxn ang="0">
                  <a:pos x="155" y="373"/>
                </a:cxn>
                <a:cxn ang="0">
                  <a:pos x="138" y="388"/>
                </a:cxn>
                <a:cxn ang="0">
                  <a:pos x="97" y="405"/>
                </a:cxn>
                <a:cxn ang="0">
                  <a:pos x="62" y="407"/>
                </a:cxn>
                <a:cxn ang="0">
                  <a:pos x="45" y="400"/>
                </a:cxn>
                <a:cxn ang="0">
                  <a:pos x="15" y="368"/>
                </a:cxn>
                <a:cxn ang="0">
                  <a:pos x="2" y="344"/>
                </a:cxn>
                <a:cxn ang="0">
                  <a:pos x="8" y="335"/>
                </a:cxn>
                <a:cxn ang="0">
                  <a:pos x="34" y="344"/>
                </a:cxn>
                <a:cxn ang="0">
                  <a:pos x="53" y="336"/>
                </a:cxn>
                <a:cxn ang="0">
                  <a:pos x="56" y="314"/>
                </a:cxn>
                <a:cxn ang="0">
                  <a:pos x="71" y="300"/>
                </a:cxn>
                <a:cxn ang="0">
                  <a:pos x="82" y="286"/>
                </a:cxn>
                <a:cxn ang="0">
                  <a:pos x="89" y="272"/>
                </a:cxn>
                <a:cxn ang="0">
                  <a:pos x="101" y="262"/>
                </a:cxn>
                <a:cxn ang="0">
                  <a:pos x="137" y="246"/>
                </a:cxn>
                <a:cxn ang="0">
                  <a:pos x="175" y="232"/>
                </a:cxn>
                <a:cxn ang="0">
                  <a:pos x="202" y="217"/>
                </a:cxn>
                <a:cxn ang="0">
                  <a:pos x="213" y="205"/>
                </a:cxn>
                <a:cxn ang="0">
                  <a:pos x="219" y="191"/>
                </a:cxn>
                <a:cxn ang="0">
                  <a:pos x="227" y="161"/>
                </a:cxn>
                <a:cxn ang="0">
                  <a:pos x="229" y="149"/>
                </a:cxn>
                <a:cxn ang="0">
                  <a:pos x="231" y="152"/>
                </a:cxn>
                <a:cxn ang="0">
                  <a:pos x="239" y="143"/>
                </a:cxn>
                <a:cxn ang="0">
                  <a:pos x="237" y="155"/>
                </a:cxn>
                <a:cxn ang="0">
                  <a:pos x="240" y="174"/>
                </a:cxn>
                <a:cxn ang="0">
                  <a:pos x="251" y="193"/>
                </a:cxn>
                <a:cxn ang="0">
                  <a:pos x="272" y="205"/>
                </a:cxn>
                <a:cxn ang="0">
                  <a:pos x="306" y="204"/>
                </a:cxn>
                <a:cxn ang="0">
                  <a:pos x="320" y="205"/>
                </a:cxn>
                <a:cxn ang="0">
                  <a:pos x="327" y="198"/>
                </a:cxn>
                <a:cxn ang="0">
                  <a:pos x="324" y="176"/>
                </a:cxn>
                <a:cxn ang="0">
                  <a:pos x="299" y="130"/>
                </a:cxn>
                <a:cxn ang="0">
                  <a:pos x="319" y="109"/>
                </a:cxn>
                <a:cxn ang="0">
                  <a:pos x="344" y="66"/>
                </a:cxn>
                <a:cxn ang="0">
                  <a:pos x="374" y="22"/>
                </a:cxn>
                <a:cxn ang="0">
                  <a:pos x="399" y="0"/>
                </a:cxn>
                <a:cxn ang="0">
                  <a:pos x="401" y="23"/>
                </a:cxn>
                <a:cxn ang="0">
                  <a:pos x="413" y="50"/>
                </a:cxn>
                <a:cxn ang="0">
                  <a:pos x="439" y="75"/>
                </a:cxn>
                <a:cxn ang="0">
                  <a:pos x="486" y="106"/>
                </a:cxn>
                <a:cxn ang="0">
                  <a:pos x="508" y="132"/>
                </a:cxn>
                <a:cxn ang="0">
                  <a:pos x="499" y="149"/>
                </a:cxn>
                <a:cxn ang="0">
                  <a:pos x="478" y="152"/>
                </a:cxn>
                <a:cxn ang="0">
                  <a:pos x="458" y="180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/>
              <a:ahLst/>
              <a:cxnLst>
                <a:cxn ang="0">
                  <a:pos x="151" y="24"/>
                </a:cxn>
                <a:cxn ang="0">
                  <a:pos x="165" y="48"/>
                </a:cxn>
                <a:cxn ang="0">
                  <a:pos x="174" y="56"/>
                </a:cxn>
                <a:cxn ang="0">
                  <a:pos x="181" y="60"/>
                </a:cxn>
                <a:cxn ang="0">
                  <a:pos x="186" y="166"/>
                </a:cxn>
                <a:cxn ang="0">
                  <a:pos x="189" y="196"/>
                </a:cxn>
                <a:cxn ang="0">
                  <a:pos x="193" y="207"/>
                </a:cxn>
                <a:cxn ang="0">
                  <a:pos x="199" y="216"/>
                </a:cxn>
                <a:cxn ang="0">
                  <a:pos x="232" y="246"/>
                </a:cxn>
                <a:cxn ang="0">
                  <a:pos x="219" y="288"/>
                </a:cxn>
                <a:cxn ang="0">
                  <a:pos x="186" y="282"/>
                </a:cxn>
                <a:cxn ang="0">
                  <a:pos x="151" y="264"/>
                </a:cxn>
                <a:cxn ang="0">
                  <a:pos x="113" y="235"/>
                </a:cxn>
                <a:cxn ang="0">
                  <a:pos x="81" y="207"/>
                </a:cxn>
                <a:cxn ang="0">
                  <a:pos x="56" y="176"/>
                </a:cxn>
                <a:cxn ang="0">
                  <a:pos x="31" y="145"/>
                </a:cxn>
                <a:cxn ang="0">
                  <a:pos x="9" y="126"/>
                </a:cxn>
                <a:cxn ang="0">
                  <a:pos x="2" y="117"/>
                </a:cxn>
                <a:cxn ang="0">
                  <a:pos x="0" y="109"/>
                </a:cxn>
                <a:cxn ang="0">
                  <a:pos x="0" y="100"/>
                </a:cxn>
                <a:cxn ang="0">
                  <a:pos x="3" y="92"/>
                </a:cxn>
                <a:cxn ang="0">
                  <a:pos x="11" y="79"/>
                </a:cxn>
                <a:cxn ang="0">
                  <a:pos x="12" y="52"/>
                </a:cxn>
                <a:cxn ang="0">
                  <a:pos x="7" y="15"/>
                </a:cxn>
                <a:cxn ang="0">
                  <a:pos x="13" y="0"/>
                </a:cxn>
                <a:cxn ang="0">
                  <a:pos x="26" y="3"/>
                </a:cxn>
                <a:cxn ang="0">
                  <a:pos x="42" y="10"/>
                </a:cxn>
                <a:cxn ang="0">
                  <a:pos x="59" y="21"/>
                </a:cxn>
                <a:cxn ang="0">
                  <a:pos x="73" y="28"/>
                </a:cxn>
                <a:cxn ang="0">
                  <a:pos x="81" y="31"/>
                </a:cxn>
                <a:cxn ang="0">
                  <a:pos x="91" y="31"/>
                </a:cxn>
                <a:cxn ang="0">
                  <a:pos x="105" y="26"/>
                </a:cxn>
                <a:cxn ang="0">
                  <a:pos x="120" y="19"/>
                </a:cxn>
                <a:cxn ang="0">
                  <a:pos x="133" y="11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1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927851" y="1598152"/>
            <a:ext cx="3065462" cy="1074737"/>
          </a:xfrm>
          <a:custGeom>
            <a:avLst/>
            <a:gdLst/>
            <a:ahLst/>
            <a:cxnLst>
              <a:cxn ang="0">
                <a:pos x="725" y="1733"/>
              </a:cxn>
              <a:cxn ang="0">
                <a:pos x="1070" y="1937"/>
              </a:cxn>
              <a:cxn ang="0">
                <a:pos x="1212" y="1814"/>
              </a:cxn>
              <a:cxn ang="0">
                <a:pos x="1674" y="1469"/>
              </a:cxn>
              <a:cxn ang="0">
                <a:pos x="2618" y="1315"/>
              </a:cxn>
              <a:cxn ang="0">
                <a:pos x="3350" y="1494"/>
              </a:cxn>
              <a:cxn ang="0">
                <a:pos x="3676" y="1438"/>
              </a:cxn>
              <a:cxn ang="0">
                <a:pos x="4136" y="1492"/>
              </a:cxn>
              <a:cxn ang="0">
                <a:pos x="4577" y="1509"/>
              </a:cxn>
              <a:cxn ang="0">
                <a:pos x="4759" y="1372"/>
              </a:cxn>
              <a:cxn ang="0">
                <a:pos x="5156" y="1476"/>
              </a:cxn>
              <a:cxn ang="0">
                <a:pos x="5614" y="1598"/>
              </a:cxn>
              <a:cxn ang="0">
                <a:pos x="5604" y="1844"/>
              </a:cxn>
              <a:cxn ang="0">
                <a:pos x="5853" y="1612"/>
              </a:cxn>
              <a:cxn ang="0">
                <a:pos x="5570" y="1256"/>
              </a:cxn>
              <a:cxn ang="0">
                <a:pos x="5331" y="1147"/>
              </a:cxn>
              <a:cxn ang="0">
                <a:pos x="5857" y="982"/>
              </a:cxn>
              <a:cxn ang="0">
                <a:pos x="5974" y="822"/>
              </a:cxn>
              <a:cxn ang="0">
                <a:pos x="6132" y="761"/>
              </a:cxn>
              <a:cxn ang="0">
                <a:pos x="6195" y="974"/>
              </a:cxn>
              <a:cxn ang="0">
                <a:pos x="6352" y="1251"/>
              </a:cxn>
              <a:cxn ang="0">
                <a:pos x="6575" y="1410"/>
              </a:cxn>
              <a:cxn ang="0">
                <a:pos x="6566" y="1214"/>
              </a:cxn>
              <a:cxn ang="0">
                <a:pos x="6373" y="1037"/>
              </a:cxn>
              <a:cxn ang="0">
                <a:pos x="6547" y="885"/>
              </a:cxn>
              <a:cxn ang="0">
                <a:pos x="6801" y="784"/>
              </a:cxn>
              <a:cxn ang="0">
                <a:pos x="6628" y="618"/>
              </a:cxn>
              <a:cxn ang="0">
                <a:pos x="6799" y="636"/>
              </a:cxn>
              <a:cxn ang="0">
                <a:pos x="6861" y="543"/>
              </a:cxn>
              <a:cxn ang="0">
                <a:pos x="6500" y="462"/>
              </a:cxn>
              <a:cxn ang="0">
                <a:pos x="5843" y="410"/>
              </a:cxn>
              <a:cxn ang="0">
                <a:pos x="5693" y="415"/>
              </a:cxn>
              <a:cxn ang="0">
                <a:pos x="4991" y="351"/>
              </a:cxn>
              <a:cxn ang="0">
                <a:pos x="4728" y="290"/>
              </a:cxn>
              <a:cxn ang="0">
                <a:pos x="4412" y="290"/>
              </a:cxn>
              <a:cxn ang="0">
                <a:pos x="4009" y="318"/>
              </a:cxn>
              <a:cxn ang="0">
                <a:pos x="3574" y="261"/>
              </a:cxn>
              <a:cxn ang="0">
                <a:pos x="3290" y="244"/>
              </a:cxn>
              <a:cxn ang="0">
                <a:pos x="3008" y="235"/>
              </a:cxn>
              <a:cxn ang="0">
                <a:pos x="2724" y="58"/>
              </a:cxn>
              <a:cxn ang="0">
                <a:pos x="2617" y="140"/>
              </a:cxn>
              <a:cxn ang="0">
                <a:pos x="2134" y="167"/>
              </a:cxn>
              <a:cxn ang="0">
                <a:pos x="2159" y="200"/>
              </a:cxn>
              <a:cxn ang="0">
                <a:pos x="2198" y="342"/>
              </a:cxn>
              <a:cxn ang="0">
                <a:pos x="1933" y="256"/>
              </a:cxn>
              <a:cxn ang="0">
                <a:pos x="1787" y="273"/>
              </a:cxn>
              <a:cxn ang="0">
                <a:pos x="1917" y="446"/>
              </a:cxn>
              <a:cxn ang="0">
                <a:pos x="2076" y="529"/>
              </a:cxn>
              <a:cxn ang="0">
                <a:pos x="1883" y="593"/>
              </a:cxn>
              <a:cxn ang="0">
                <a:pos x="1832" y="464"/>
              </a:cxn>
              <a:cxn ang="0">
                <a:pos x="1621" y="231"/>
              </a:cxn>
              <a:cxn ang="0">
                <a:pos x="1623" y="451"/>
              </a:cxn>
              <a:cxn ang="0">
                <a:pos x="1238" y="397"/>
              </a:cxn>
              <a:cxn ang="0">
                <a:pos x="1198" y="477"/>
              </a:cxn>
              <a:cxn ang="0">
                <a:pos x="908" y="500"/>
              </a:cxn>
              <a:cxn ang="0">
                <a:pos x="692" y="483"/>
              </a:cxn>
              <a:cxn ang="0">
                <a:pos x="602" y="585"/>
              </a:cxn>
              <a:cxn ang="0">
                <a:pos x="407" y="739"/>
              </a:cxn>
              <a:cxn ang="0">
                <a:pos x="390" y="612"/>
              </a:cxn>
              <a:cxn ang="0">
                <a:pos x="150" y="440"/>
              </a:cxn>
              <a:cxn ang="0">
                <a:pos x="71" y="605"/>
              </a:cxn>
              <a:cxn ang="0">
                <a:pos x="112" y="958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191264" y="2585567"/>
            <a:ext cx="280987" cy="247651"/>
          </a:xfrm>
          <a:custGeom>
            <a:avLst/>
            <a:gdLst/>
            <a:ahLst/>
            <a:cxnLst>
              <a:cxn ang="0">
                <a:pos x="406" y="27"/>
              </a:cxn>
              <a:cxn ang="0">
                <a:pos x="428" y="45"/>
              </a:cxn>
              <a:cxn ang="0">
                <a:pos x="458" y="60"/>
              </a:cxn>
              <a:cxn ang="0">
                <a:pos x="512" y="78"/>
              </a:cxn>
              <a:cxn ang="0">
                <a:pos x="538" y="81"/>
              </a:cxn>
              <a:cxn ang="0">
                <a:pos x="562" y="99"/>
              </a:cxn>
              <a:cxn ang="0">
                <a:pos x="567" y="97"/>
              </a:cxn>
              <a:cxn ang="0">
                <a:pos x="575" y="85"/>
              </a:cxn>
              <a:cxn ang="0">
                <a:pos x="583" y="78"/>
              </a:cxn>
              <a:cxn ang="0">
                <a:pos x="603" y="80"/>
              </a:cxn>
              <a:cxn ang="0">
                <a:pos x="624" y="79"/>
              </a:cxn>
              <a:cxn ang="0">
                <a:pos x="640" y="84"/>
              </a:cxn>
              <a:cxn ang="0">
                <a:pos x="646" y="103"/>
              </a:cxn>
              <a:cxn ang="0">
                <a:pos x="646" y="123"/>
              </a:cxn>
              <a:cxn ang="0">
                <a:pos x="618" y="131"/>
              </a:cxn>
              <a:cxn ang="0">
                <a:pos x="586" y="146"/>
              </a:cxn>
              <a:cxn ang="0">
                <a:pos x="560" y="165"/>
              </a:cxn>
              <a:cxn ang="0">
                <a:pos x="504" y="214"/>
              </a:cxn>
              <a:cxn ang="0">
                <a:pos x="489" y="227"/>
              </a:cxn>
              <a:cxn ang="0">
                <a:pos x="474" y="254"/>
              </a:cxn>
              <a:cxn ang="0">
                <a:pos x="473" y="282"/>
              </a:cxn>
              <a:cxn ang="0">
                <a:pos x="473" y="311"/>
              </a:cxn>
              <a:cxn ang="0">
                <a:pos x="463" y="340"/>
              </a:cxn>
              <a:cxn ang="0">
                <a:pos x="450" y="354"/>
              </a:cxn>
              <a:cxn ang="0">
                <a:pos x="411" y="384"/>
              </a:cxn>
              <a:cxn ang="0">
                <a:pos x="383" y="411"/>
              </a:cxn>
              <a:cxn ang="0">
                <a:pos x="374" y="425"/>
              </a:cxn>
              <a:cxn ang="0">
                <a:pos x="369" y="432"/>
              </a:cxn>
              <a:cxn ang="0">
                <a:pos x="310" y="429"/>
              </a:cxn>
              <a:cxn ang="0">
                <a:pos x="257" y="434"/>
              </a:cxn>
              <a:cxn ang="0">
                <a:pos x="224" y="446"/>
              </a:cxn>
              <a:cxn ang="0">
                <a:pos x="193" y="467"/>
              </a:cxn>
              <a:cxn ang="0">
                <a:pos x="179" y="469"/>
              </a:cxn>
              <a:cxn ang="0">
                <a:pos x="169" y="461"/>
              </a:cxn>
              <a:cxn ang="0">
                <a:pos x="153" y="432"/>
              </a:cxn>
              <a:cxn ang="0">
                <a:pos x="140" y="414"/>
              </a:cxn>
              <a:cxn ang="0">
                <a:pos x="122" y="400"/>
              </a:cxn>
              <a:cxn ang="0">
                <a:pos x="114" y="379"/>
              </a:cxn>
              <a:cxn ang="0">
                <a:pos x="126" y="336"/>
              </a:cxn>
              <a:cxn ang="0">
                <a:pos x="127" y="267"/>
              </a:cxn>
              <a:cxn ang="0">
                <a:pos x="147" y="206"/>
              </a:cxn>
              <a:cxn ang="0">
                <a:pos x="168" y="149"/>
              </a:cxn>
              <a:cxn ang="0">
                <a:pos x="172" y="131"/>
              </a:cxn>
              <a:cxn ang="0">
                <a:pos x="116" y="123"/>
              </a:cxn>
              <a:cxn ang="0">
                <a:pos x="62" y="109"/>
              </a:cxn>
              <a:cxn ang="0">
                <a:pos x="17" y="93"/>
              </a:cxn>
              <a:cxn ang="0">
                <a:pos x="0" y="38"/>
              </a:cxn>
              <a:cxn ang="0">
                <a:pos x="23" y="34"/>
              </a:cxn>
              <a:cxn ang="0">
                <a:pos x="51" y="20"/>
              </a:cxn>
              <a:cxn ang="0">
                <a:pos x="73" y="4"/>
              </a:cxn>
              <a:cxn ang="0">
                <a:pos x="86" y="0"/>
              </a:cxn>
              <a:cxn ang="0">
                <a:pos x="132" y="7"/>
              </a:cxn>
              <a:cxn ang="0">
                <a:pos x="171" y="17"/>
              </a:cxn>
              <a:cxn ang="0">
                <a:pos x="209" y="20"/>
              </a:cxn>
              <a:cxn ang="0">
                <a:pos x="235" y="29"/>
              </a:cxn>
              <a:cxn ang="0">
                <a:pos x="258" y="37"/>
              </a:cxn>
              <a:cxn ang="0">
                <a:pos x="385" y="26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823324" y="3323780"/>
            <a:ext cx="207962" cy="455613"/>
          </a:xfrm>
          <a:custGeom>
            <a:avLst/>
            <a:gdLst/>
            <a:ahLst/>
            <a:cxnLst>
              <a:cxn ang="0">
                <a:pos x="379" y="357"/>
              </a:cxn>
              <a:cxn ang="0">
                <a:pos x="333" y="370"/>
              </a:cxn>
              <a:cxn ang="0">
                <a:pos x="314" y="390"/>
              </a:cxn>
              <a:cxn ang="0">
                <a:pos x="316" y="428"/>
              </a:cxn>
              <a:cxn ang="0">
                <a:pos x="352" y="492"/>
              </a:cxn>
              <a:cxn ang="0">
                <a:pos x="359" y="530"/>
              </a:cxn>
              <a:cxn ang="0">
                <a:pos x="366" y="555"/>
              </a:cxn>
              <a:cxn ang="0">
                <a:pos x="323" y="526"/>
              </a:cxn>
              <a:cxn ang="0">
                <a:pos x="309" y="492"/>
              </a:cxn>
              <a:cxn ang="0">
                <a:pos x="269" y="467"/>
              </a:cxn>
              <a:cxn ang="0">
                <a:pos x="210" y="439"/>
              </a:cxn>
              <a:cxn ang="0">
                <a:pos x="193" y="406"/>
              </a:cxn>
              <a:cxn ang="0">
                <a:pos x="156" y="477"/>
              </a:cxn>
              <a:cxn ang="0">
                <a:pos x="156" y="524"/>
              </a:cxn>
              <a:cxn ang="0">
                <a:pos x="132" y="575"/>
              </a:cxn>
              <a:cxn ang="0">
                <a:pos x="128" y="621"/>
              </a:cxn>
              <a:cxn ang="0">
                <a:pos x="154" y="650"/>
              </a:cxn>
              <a:cxn ang="0">
                <a:pos x="175" y="685"/>
              </a:cxn>
              <a:cxn ang="0">
                <a:pos x="185" y="730"/>
              </a:cxn>
              <a:cxn ang="0">
                <a:pos x="226" y="780"/>
              </a:cxn>
              <a:cxn ang="0">
                <a:pos x="281" y="825"/>
              </a:cxn>
              <a:cxn ang="0">
                <a:pos x="340" y="850"/>
              </a:cxn>
              <a:cxn ang="0">
                <a:pos x="298" y="867"/>
              </a:cxn>
              <a:cxn ang="0">
                <a:pos x="269" y="864"/>
              </a:cxn>
              <a:cxn ang="0">
                <a:pos x="229" y="841"/>
              </a:cxn>
              <a:cxn ang="0">
                <a:pos x="200" y="823"/>
              </a:cxn>
              <a:cxn ang="0">
                <a:pos x="137" y="759"/>
              </a:cxn>
              <a:cxn ang="0">
                <a:pos x="83" y="730"/>
              </a:cxn>
              <a:cxn ang="0">
                <a:pos x="74" y="688"/>
              </a:cxn>
              <a:cxn ang="0">
                <a:pos x="80" y="653"/>
              </a:cxn>
              <a:cxn ang="0">
                <a:pos x="88" y="617"/>
              </a:cxn>
              <a:cxn ang="0">
                <a:pos x="120" y="498"/>
              </a:cxn>
              <a:cxn ang="0">
                <a:pos x="108" y="404"/>
              </a:cxn>
              <a:cxn ang="0">
                <a:pos x="62" y="319"/>
              </a:cxn>
              <a:cxn ang="0">
                <a:pos x="64" y="285"/>
              </a:cxn>
              <a:cxn ang="0">
                <a:pos x="74" y="265"/>
              </a:cxn>
              <a:cxn ang="0">
                <a:pos x="56" y="202"/>
              </a:cxn>
              <a:cxn ang="0">
                <a:pos x="23" y="158"/>
              </a:cxn>
              <a:cxn ang="0">
                <a:pos x="1" y="102"/>
              </a:cxn>
              <a:cxn ang="0">
                <a:pos x="11" y="44"/>
              </a:cxn>
              <a:cxn ang="0">
                <a:pos x="49" y="16"/>
              </a:cxn>
              <a:cxn ang="0">
                <a:pos x="120" y="0"/>
              </a:cxn>
              <a:cxn ang="0">
                <a:pos x="156" y="28"/>
              </a:cxn>
              <a:cxn ang="0">
                <a:pos x="179" y="36"/>
              </a:cxn>
              <a:cxn ang="0">
                <a:pos x="197" y="136"/>
              </a:cxn>
              <a:cxn ang="0">
                <a:pos x="213" y="166"/>
              </a:cxn>
              <a:cxn ang="0">
                <a:pos x="231" y="155"/>
              </a:cxn>
              <a:cxn ang="0">
                <a:pos x="258" y="126"/>
              </a:cxn>
              <a:cxn ang="0">
                <a:pos x="281" y="141"/>
              </a:cxn>
              <a:cxn ang="0">
                <a:pos x="298" y="136"/>
              </a:cxn>
              <a:cxn ang="0">
                <a:pos x="316" y="108"/>
              </a:cxn>
              <a:cxn ang="0">
                <a:pos x="346" y="108"/>
              </a:cxn>
              <a:cxn ang="0">
                <a:pos x="387" y="157"/>
              </a:cxn>
              <a:cxn ang="0">
                <a:pos x="454" y="246"/>
              </a:cxn>
              <a:cxn ang="0">
                <a:pos x="478" y="307"/>
              </a:cxn>
              <a:cxn ang="0">
                <a:pos x="468" y="338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932376" y="5711354"/>
            <a:ext cx="23813" cy="57151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394079" y="2633219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397255" y="2630016"/>
            <a:ext cx="3175" cy="55563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19"/>
              </a:cxn>
              <a:cxn ang="0">
                <a:pos x="1" y="14"/>
              </a:cxn>
              <a:cxn ang="0">
                <a:pos x="3" y="8"/>
              </a:cxn>
              <a:cxn ang="0">
                <a:pos x="6" y="0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373451" y="2683993"/>
            <a:ext cx="23813" cy="57151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30"/>
              </a:cxn>
              <a:cxn ang="0">
                <a:pos x="2" y="36"/>
              </a:cxn>
              <a:cxn ang="0">
                <a:pos x="3" y="42"/>
              </a:cxn>
              <a:cxn ang="0">
                <a:pos x="5" y="47"/>
              </a:cxn>
              <a:cxn ang="0">
                <a:pos x="9" y="58"/>
              </a:cxn>
              <a:cxn ang="0">
                <a:pos x="14" y="67"/>
              </a:cxn>
              <a:cxn ang="0">
                <a:pos x="47" y="67"/>
              </a:cxn>
              <a:cxn ang="0">
                <a:pos x="47" y="0"/>
              </a:cxn>
              <a:cxn ang="0">
                <a:pos x="36" y="2"/>
              </a:cxn>
              <a:cxn ang="0">
                <a:pos x="26" y="4"/>
              </a:cxn>
              <a:cxn ang="0">
                <a:pos x="18" y="7"/>
              </a:cxn>
              <a:cxn ang="0">
                <a:pos x="11" y="9"/>
              </a:cxn>
              <a:cxn ang="0">
                <a:pos x="6" y="12"/>
              </a:cxn>
              <a:cxn ang="0">
                <a:pos x="3" y="16"/>
              </a:cxn>
              <a:cxn ang="0">
                <a:pos x="0" y="20"/>
              </a:cxn>
              <a:cxn ang="0">
                <a:pos x="0" y="24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699004" y="2679230"/>
            <a:ext cx="49212" cy="57151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59" y="36"/>
              </a:cxn>
              <a:cxn ang="0">
                <a:pos x="67" y="30"/>
              </a:cxn>
              <a:cxn ang="0">
                <a:pos x="75" y="26"/>
              </a:cxn>
              <a:cxn ang="0">
                <a:pos x="84" y="23"/>
              </a:cxn>
              <a:cxn ang="0">
                <a:pos x="91" y="20"/>
              </a:cxn>
              <a:cxn ang="0">
                <a:pos x="98" y="17"/>
              </a:cxn>
              <a:cxn ang="0">
                <a:pos x="104" y="13"/>
              </a:cxn>
              <a:cxn ang="0">
                <a:pos x="107" y="11"/>
              </a:cxn>
              <a:cxn ang="0">
                <a:pos x="109" y="8"/>
              </a:cxn>
              <a:cxn ang="0">
                <a:pos x="111" y="4"/>
              </a:cxn>
              <a:cxn ang="0">
                <a:pos x="112" y="0"/>
              </a:cxn>
              <a:cxn ang="0">
                <a:pos x="100" y="0"/>
              </a:cxn>
              <a:cxn ang="0">
                <a:pos x="85" y="1"/>
              </a:cxn>
              <a:cxn ang="0">
                <a:pos x="67" y="3"/>
              </a:cxn>
              <a:cxn ang="0">
                <a:pos x="48" y="7"/>
              </a:cxn>
              <a:cxn ang="0">
                <a:pos x="40" y="9"/>
              </a:cxn>
              <a:cxn ang="0">
                <a:pos x="31" y="11"/>
              </a:cxn>
              <a:cxn ang="0">
                <a:pos x="23" y="14"/>
              </a:cxn>
              <a:cxn ang="0">
                <a:pos x="17" y="18"/>
              </a:cxn>
              <a:cxn ang="0">
                <a:pos x="10" y="22"/>
              </a:cxn>
              <a:cxn ang="0">
                <a:pos x="6" y="26"/>
              </a:cxn>
              <a:cxn ang="0">
                <a:pos x="1" y="31"/>
              </a:cxn>
              <a:cxn ang="0">
                <a:pos x="0" y="36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437442" y="2236334"/>
            <a:ext cx="874713" cy="452437"/>
          </a:xfrm>
          <a:custGeom>
            <a:avLst/>
            <a:gdLst/>
            <a:ahLst/>
            <a:cxnLst>
              <a:cxn ang="0">
                <a:pos x="433" y="765"/>
              </a:cxn>
              <a:cxn ang="0">
                <a:pos x="412" y="764"/>
              </a:cxn>
              <a:cxn ang="0">
                <a:pos x="390" y="794"/>
              </a:cxn>
              <a:cxn ang="0">
                <a:pos x="375" y="792"/>
              </a:cxn>
              <a:cxn ang="0">
                <a:pos x="370" y="751"/>
              </a:cxn>
              <a:cxn ang="0">
                <a:pos x="324" y="724"/>
              </a:cxn>
              <a:cxn ang="0">
                <a:pos x="312" y="708"/>
              </a:cxn>
              <a:cxn ang="0">
                <a:pos x="288" y="692"/>
              </a:cxn>
              <a:cxn ang="0">
                <a:pos x="251" y="641"/>
              </a:cxn>
              <a:cxn ang="0">
                <a:pos x="232" y="610"/>
              </a:cxn>
              <a:cxn ang="0">
                <a:pos x="253" y="594"/>
              </a:cxn>
              <a:cxn ang="0">
                <a:pos x="279" y="573"/>
              </a:cxn>
              <a:cxn ang="0">
                <a:pos x="338" y="544"/>
              </a:cxn>
              <a:cxn ang="0">
                <a:pos x="319" y="487"/>
              </a:cxn>
              <a:cxn ang="0">
                <a:pos x="258" y="475"/>
              </a:cxn>
              <a:cxn ang="0">
                <a:pos x="209" y="470"/>
              </a:cxn>
              <a:cxn ang="0">
                <a:pos x="157" y="495"/>
              </a:cxn>
              <a:cxn ang="0">
                <a:pos x="106" y="505"/>
              </a:cxn>
              <a:cxn ang="0">
                <a:pos x="27" y="413"/>
              </a:cxn>
              <a:cxn ang="0">
                <a:pos x="20" y="283"/>
              </a:cxn>
              <a:cxn ang="0">
                <a:pos x="113" y="259"/>
              </a:cxn>
              <a:cxn ang="0">
                <a:pos x="292" y="222"/>
              </a:cxn>
              <a:cxn ang="0">
                <a:pos x="498" y="253"/>
              </a:cxn>
              <a:cxn ang="0">
                <a:pos x="717" y="253"/>
              </a:cxn>
              <a:cxn ang="0">
                <a:pos x="658" y="185"/>
              </a:cxn>
              <a:cxn ang="0">
                <a:pos x="830" y="68"/>
              </a:cxn>
              <a:cxn ang="0">
                <a:pos x="1050" y="13"/>
              </a:cxn>
              <a:cxn ang="0">
                <a:pos x="1176" y="61"/>
              </a:cxn>
              <a:cxn ang="0">
                <a:pos x="1296" y="111"/>
              </a:cxn>
              <a:cxn ang="0">
                <a:pos x="1442" y="99"/>
              </a:cxn>
              <a:cxn ang="0">
                <a:pos x="1647" y="271"/>
              </a:cxn>
              <a:cxn ang="0">
                <a:pos x="1793" y="265"/>
              </a:cxn>
              <a:cxn ang="0">
                <a:pos x="2000" y="339"/>
              </a:cxn>
              <a:cxn ang="0">
                <a:pos x="2002" y="381"/>
              </a:cxn>
              <a:cxn ang="0">
                <a:pos x="1981" y="399"/>
              </a:cxn>
              <a:cxn ang="0">
                <a:pos x="1960" y="404"/>
              </a:cxn>
              <a:cxn ang="0">
                <a:pos x="1963" y="425"/>
              </a:cxn>
              <a:cxn ang="0">
                <a:pos x="1985" y="466"/>
              </a:cxn>
              <a:cxn ang="0">
                <a:pos x="1979" y="478"/>
              </a:cxn>
              <a:cxn ang="0">
                <a:pos x="1939" y="481"/>
              </a:cxn>
              <a:cxn ang="0">
                <a:pos x="1893" y="474"/>
              </a:cxn>
              <a:cxn ang="0">
                <a:pos x="1864" y="474"/>
              </a:cxn>
              <a:cxn ang="0">
                <a:pos x="1878" y="548"/>
              </a:cxn>
              <a:cxn ang="0">
                <a:pos x="1880" y="586"/>
              </a:cxn>
              <a:cxn ang="0">
                <a:pos x="1789" y="588"/>
              </a:cxn>
              <a:cxn ang="0">
                <a:pos x="1768" y="604"/>
              </a:cxn>
              <a:cxn ang="0">
                <a:pos x="1795" y="619"/>
              </a:cxn>
              <a:cxn ang="0">
                <a:pos x="1814" y="650"/>
              </a:cxn>
              <a:cxn ang="0">
                <a:pos x="1834" y="689"/>
              </a:cxn>
              <a:cxn ang="0">
                <a:pos x="1837" y="706"/>
              </a:cxn>
              <a:cxn ang="0">
                <a:pos x="1837" y="754"/>
              </a:cxn>
              <a:cxn ang="0">
                <a:pos x="1741" y="740"/>
              </a:cxn>
              <a:cxn ang="0">
                <a:pos x="1475" y="764"/>
              </a:cxn>
              <a:cxn ang="0">
                <a:pos x="1316" y="795"/>
              </a:cxn>
              <a:cxn ang="0">
                <a:pos x="1142" y="838"/>
              </a:cxn>
              <a:cxn ang="0">
                <a:pos x="963" y="697"/>
              </a:cxn>
              <a:cxn ang="0">
                <a:pos x="684" y="586"/>
              </a:cxn>
              <a:cxn ang="0">
                <a:pos x="584" y="832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667631" y="2539530"/>
            <a:ext cx="409575" cy="249239"/>
          </a:xfrm>
          <a:custGeom>
            <a:avLst/>
            <a:gdLst/>
            <a:ahLst/>
            <a:cxnLst>
              <a:cxn ang="0">
                <a:pos x="638" y="443"/>
              </a:cxn>
              <a:cxn ang="0">
                <a:pos x="558" y="418"/>
              </a:cxn>
              <a:cxn ang="0">
                <a:pos x="471" y="376"/>
              </a:cxn>
              <a:cxn ang="0">
                <a:pos x="392" y="307"/>
              </a:cxn>
              <a:cxn ang="0">
                <a:pos x="305" y="258"/>
              </a:cxn>
              <a:cxn ang="0">
                <a:pos x="253" y="209"/>
              </a:cxn>
              <a:cxn ang="0">
                <a:pos x="186" y="172"/>
              </a:cxn>
              <a:cxn ang="0">
                <a:pos x="133" y="190"/>
              </a:cxn>
              <a:cxn ang="0">
                <a:pos x="99" y="240"/>
              </a:cxn>
              <a:cxn ang="0">
                <a:pos x="40" y="246"/>
              </a:cxn>
              <a:cxn ang="0">
                <a:pos x="0" y="24"/>
              </a:cxn>
              <a:cxn ang="0">
                <a:pos x="79" y="6"/>
              </a:cxn>
              <a:cxn ang="0">
                <a:pos x="133" y="55"/>
              </a:cxn>
              <a:cxn ang="0">
                <a:pos x="157" y="15"/>
              </a:cxn>
              <a:cxn ang="0">
                <a:pos x="332" y="117"/>
              </a:cxn>
              <a:cxn ang="0">
                <a:pos x="438" y="117"/>
              </a:cxn>
              <a:cxn ang="0">
                <a:pos x="525" y="135"/>
              </a:cxn>
              <a:cxn ang="0">
                <a:pos x="597" y="228"/>
              </a:cxn>
              <a:cxn ang="0">
                <a:pos x="671" y="252"/>
              </a:cxn>
              <a:cxn ang="0">
                <a:pos x="730" y="258"/>
              </a:cxn>
              <a:cxn ang="0">
                <a:pos x="791" y="215"/>
              </a:cxn>
              <a:cxn ang="0">
                <a:pos x="843" y="196"/>
              </a:cxn>
              <a:cxn ang="0">
                <a:pos x="824" y="252"/>
              </a:cxn>
              <a:cxn ang="0">
                <a:pos x="870" y="240"/>
              </a:cxn>
              <a:cxn ang="0">
                <a:pos x="950" y="283"/>
              </a:cxn>
              <a:cxn ang="0">
                <a:pos x="883" y="320"/>
              </a:cxn>
              <a:cxn ang="0">
                <a:pos x="824" y="283"/>
              </a:cxn>
              <a:cxn ang="0">
                <a:pos x="764" y="277"/>
              </a:cxn>
              <a:cxn ang="0">
                <a:pos x="737" y="320"/>
              </a:cxn>
              <a:cxn ang="0">
                <a:pos x="684" y="357"/>
              </a:cxn>
              <a:cxn ang="0">
                <a:pos x="710" y="388"/>
              </a:cxn>
              <a:cxn ang="0">
                <a:pos x="743" y="437"/>
              </a:cxn>
              <a:cxn ang="0">
                <a:pos x="717" y="468"/>
              </a:cxn>
              <a:cxn ang="0">
                <a:pos x="703" y="465"/>
              </a:cxn>
              <a:cxn ang="0">
                <a:pos x="684" y="461"/>
              </a:cxn>
              <a:cxn ang="0">
                <a:pos x="658" y="46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475415" y="3542856"/>
            <a:ext cx="296863" cy="288925"/>
          </a:xfrm>
          <a:custGeom>
            <a:avLst/>
            <a:gdLst/>
            <a:ahLst/>
            <a:cxnLst>
              <a:cxn ang="0">
                <a:pos x="6" y="383"/>
              </a:cxn>
              <a:cxn ang="0">
                <a:pos x="8" y="316"/>
              </a:cxn>
              <a:cxn ang="0">
                <a:pos x="17" y="287"/>
              </a:cxn>
              <a:cxn ang="0">
                <a:pos x="52" y="238"/>
              </a:cxn>
              <a:cxn ang="0">
                <a:pos x="71" y="205"/>
              </a:cxn>
              <a:cxn ang="0">
                <a:pos x="73" y="167"/>
              </a:cxn>
              <a:cxn ang="0">
                <a:pos x="73" y="137"/>
              </a:cxn>
              <a:cxn ang="0">
                <a:pos x="54" y="108"/>
              </a:cxn>
              <a:cxn ang="0">
                <a:pos x="61" y="79"/>
              </a:cxn>
              <a:cxn ang="0">
                <a:pos x="76" y="50"/>
              </a:cxn>
              <a:cxn ang="0">
                <a:pos x="96" y="25"/>
              </a:cxn>
              <a:cxn ang="0">
                <a:pos x="120" y="7"/>
              </a:cxn>
              <a:cxn ang="0">
                <a:pos x="146" y="0"/>
              </a:cxn>
              <a:cxn ang="0">
                <a:pos x="173" y="5"/>
              </a:cxn>
              <a:cxn ang="0">
                <a:pos x="206" y="26"/>
              </a:cxn>
              <a:cxn ang="0">
                <a:pos x="236" y="45"/>
              </a:cxn>
              <a:cxn ang="0">
                <a:pos x="259" y="50"/>
              </a:cxn>
              <a:cxn ang="0">
                <a:pos x="272" y="44"/>
              </a:cxn>
              <a:cxn ang="0">
                <a:pos x="284" y="35"/>
              </a:cxn>
              <a:cxn ang="0">
                <a:pos x="300" y="32"/>
              </a:cxn>
              <a:cxn ang="0">
                <a:pos x="318" y="39"/>
              </a:cxn>
              <a:cxn ang="0">
                <a:pos x="337" y="65"/>
              </a:cxn>
              <a:cxn ang="0">
                <a:pos x="353" y="79"/>
              </a:cxn>
              <a:cxn ang="0">
                <a:pos x="370" y="81"/>
              </a:cxn>
              <a:cxn ang="0">
                <a:pos x="381" y="75"/>
              </a:cxn>
              <a:cxn ang="0">
                <a:pos x="397" y="56"/>
              </a:cxn>
              <a:cxn ang="0">
                <a:pos x="419" y="38"/>
              </a:cxn>
              <a:cxn ang="0">
                <a:pos x="458" y="22"/>
              </a:cxn>
              <a:cxn ang="0">
                <a:pos x="487" y="25"/>
              </a:cxn>
              <a:cxn ang="0">
                <a:pos x="511" y="35"/>
              </a:cxn>
              <a:cxn ang="0">
                <a:pos x="537" y="43"/>
              </a:cxn>
              <a:cxn ang="0">
                <a:pos x="571" y="39"/>
              </a:cxn>
              <a:cxn ang="0">
                <a:pos x="646" y="67"/>
              </a:cxn>
              <a:cxn ang="0">
                <a:pos x="665" y="105"/>
              </a:cxn>
              <a:cxn ang="0">
                <a:pos x="623" y="183"/>
              </a:cxn>
              <a:cxn ang="0">
                <a:pos x="593" y="233"/>
              </a:cxn>
              <a:cxn ang="0">
                <a:pos x="570" y="291"/>
              </a:cxn>
              <a:cxn ang="0">
                <a:pos x="550" y="343"/>
              </a:cxn>
              <a:cxn ang="0">
                <a:pos x="525" y="407"/>
              </a:cxn>
              <a:cxn ang="0">
                <a:pos x="516" y="422"/>
              </a:cxn>
              <a:cxn ang="0">
                <a:pos x="500" y="439"/>
              </a:cxn>
              <a:cxn ang="0">
                <a:pos x="482" y="443"/>
              </a:cxn>
              <a:cxn ang="0">
                <a:pos x="459" y="432"/>
              </a:cxn>
              <a:cxn ang="0">
                <a:pos x="440" y="421"/>
              </a:cxn>
              <a:cxn ang="0">
                <a:pos x="408" y="424"/>
              </a:cxn>
              <a:cxn ang="0">
                <a:pos x="381" y="441"/>
              </a:cxn>
              <a:cxn ang="0">
                <a:pos x="364" y="469"/>
              </a:cxn>
              <a:cxn ang="0">
                <a:pos x="342" y="521"/>
              </a:cxn>
              <a:cxn ang="0">
                <a:pos x="325" y="549"/>
              </a:cxn>
              <a:cxn ang="0">
                <a:pos x="229" y="546"/>
              </a:cxn>
              <a:cxn ang="0">
                <a:pos x="217" y="548"/>
              </a:cxn>
              <a:cxn ang="0">
                <a:pos x="179" y="543"/>
              </a:cxn>
              <a:cxn ang="0">
                <a:pos x="161" y="540"/>
              </a:cxn>
              <a:cxn ang="0">
                <a:pos x="144" y="531"/>
              </a:cxn>
              <a:cxn ang="0">
                <a:pos x="129" y="515"/>
              </a:cxn>
              <a:cxn ang="0">
                <a:pos x="119" y="496"/>
              </a:cxn>
              <a:cxn ang="0">
                <a:pos x="113" y="472"/>
              </a:cxn>
              <a:cxn ang="0">
                <a:pos x="100" y="460"/>
              </a:cxn>
              <a:cxn ang="0">
                <a:pos x="83" y="447"/>
              </a:cxn>
              <a:cxn ang="0">
                <a:pos x="63" y="432"/>
              </a:cxn>
              <a:cxn ang="0">
                <a:pos x="39" y="429"/>
              </a:cxn>
              <a:cxn ang="0">
                <a:pos x="0" y="438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318374" y="3407893"/>
            <a:ext cx="152400" cy="169863"/>
          </a:xfrm>
          <a:custGeom>
            <a:avLst/>
            <a:gdLst/>
            <a:ahLst/>
            <a:cxnLst>
              <a:cxn ang="0">
                <a:pos x="326" y="324"/>
              </a:cxn>
              <a:cxn ang="0">
                <a:pos x="331" y="321"/>
              </a:cxn>
              <a:cxn ang="0">
                <a:pos x="337" y="318"/>
              </a:cxn>
              <a:cxn ang="0">
                <a:pos x="346" y="318"/>
              </a:cxn>
              <a:cxn ang="0">
                <a:pos x="356" y="324"/>
              </a:cxn>
              <a:cxn ang="0">
                <a:pos x="319" y="285"/>
              </a:cxn>
              <a:cxn ang="0">
                <a:pos x="278" y="235"/>
              </a:cxn>
              <a:cxn ang="0">
                <a:pos x="253" y="204"/>
              </a:cxn>
              <a:cxn ang="0">
                <a:pos x="232" y="186"/>
              </a:cxn>
              <a:cxn ang="0">
                <a:pos x="219" y="181"/>
              </a:cxn>
              <a:cxn ang="0">
                <a:pos x="208" y="180"/>
              </a:cxn>
              <a:cxn ang="0">
                <a:pos x="201" y="179"/>
              </a:cxn>
              <a:cxn ang="0">
                <a:pos x="199" y="174"/>
              </a:cxn>
              <a:cxn ang="0">
                <a:pos x="198" y="170"/>
              </a:cxn>
              <a:cxn ang="0">
                <a:pos x="195" y="169"/>
              </a:cxn>
              <a:cxn ang="0">
                <a:pos x="184" y="172"/>
              </a:cxn>
              <a:cxn ang="0">
                <a:pos x="171" y="172"/>
              </a:cxn>
              <a:cxn ang="0">
                <a:pos x="165" y="168"/>
              </a:cxn>
              <a:cxn ang="0">
                <a:pos x="160" y="161"/>
              </a:cxn>
              <a:cxn ang="0">
                <a:pos x="152" y="144"/>
              </a:cxn>
              <a:cxn ang="0">
                <a:pos x="143" y="131"/>
              </a:cxn>
              <a:cxn ang="0">
                <a:pos x="133" y="119"/>
              </a:cxn>
              <a:cxn ang="0">
                <a:pos x="127" y="105"/>
              </a:cxn>
              <a:cxn ang="0">
                <a:pos x="122" y="84"/>
              </a:cxn>
              <a:cxn ang="0">
                <a:pos x="119" y="53"/>
              </a:cxn>
              <a:cxn ang="0">
                <a:pos x="117" y="23"/>
              </a:cxn>
              <a:cxn ang="0">
                <a:pos x="112" y="0"/>
              </a:cxn>
              <a:cxn ang="0">
                <a:pos x="73" y="26"/>
              </a:cxn>
              <a:cxn ang="0">
                <a:pos x="61" y="33"/>
              </a:cxn>
              <a:cxn ang="0">
                <a:pos x="33" y="50"/>
              </a:cxn>
              <a:cxn ang="0">
                <a:pos x="21" y="61"/>
              </a:cxn>
              <a:cxn ang="0">
                <a:pos x="17" y="72"/>
              </a:cxn>
              <a:cxn ang="0">
                <a:pos x="16" y="83"/>
              </a:cxn>
              <a:cxn ang="0">
                <a:pos x="20" y="93"/>
              </a:cxn>
              <a:cxn ang="0">
                <a:pos x="22" y="100"/>
              </a:cxn>
              <a:cxn ang="0">
                <a:pos x="20" y="110"/>
              </a:cxn>
              <a:cxn ang="0">
                <a:pos x="15" y="123"/>
              </a:cxn>
              <a:cxn ang="0">
                <a:pos x="7" y="136"/>
              </a:cxn>
              <a:cxn ang="0">
                <a:pos x="0" y="155"/>
              </a:cxn>
              <a:cxn ang="0">
                <a:pos x="0" y="174"/>
              </a:cxn>
              <a:cxn ang="0">
                <a:pos x="5" y="182"/>
              </a:cxn>
              <a:cxn ang="0">
                <a:pos x="11" y="187"/>
              </a:cxn>
              <a:cxn ang="0">
                <a:pos x="20" y="186"/>
              </a:cxn>
              <a:cxn ang="0">
                <a:pos x="44" y="168"/>
              </a:cxn>
              <a:cxn ang="0">
                <a:pos x="60" y="161"/>
              </a:cxn>
              <a:cxn ang="0">
                <a:pos x="76" y="150"/>
              </a:cxn>
              <a:cxn ang="0">
                <a:pos x="93" y="159"/>
              </a:cxn>
              <a:cxn ang="0">
                <a:pos x="110" y="164"/>
              </a:cxn>
              <a:cxn ang="0">
                <a:pos x="142" y="180"/>
              </a:cxn>
              <a:cxn ang="0">
                <a:pos x="163" y="190"/>
              </a:cxn>
              <a:cxn ang="0">
                <a:pos x="196" y="209"/>
              </a:cxn>
              <a:cxn ang="0">
                <a:pos x="219" y="225"/>
              </a:cxn>
              <a:cxn ang="0">
                <a:pos x="245" y="244"/>
              </a:cxn>
              <a:cxn ang="0">
                <a:pos x="256" y="254"/>
              </a:cxn>
              <a:cxn ang="0">
                <a:pos x="267" y="270"/>
              </a:cxn>
              <a:cxn ang="0">
                <a:pos x="269" y="279"/>
              </a:cxn>
              <a:cxn ang="0">
                <a:pos x="269" y="286"/>
              </a:cxn>
              <a:cxn ang="0">
                <a:pos x="270" y="290"/>
              </a:cxn>
              <a:cxn ang="0">
                <a:pos x="276" y="292"/>
              </a:cxn>
              <a:cxn ang="0">
                <a:pos x="292" y="302"/>
              </a:cxn>
              <a:cxn ang="0">
                <a:pos x="318" y="3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780213" y="2412530"/>
            <a:ext cx="125413" cy="57151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53" y="0"/>
              </a:cxn>
              <a:cxn ang="0">
                <a:pos x="198" y="1"/>
              </a:cxn>
              <a:cxn ang="0">
                <a:pos x="250" y="6"/>
              </a:cxn>
              <a:cxn ang="0">
                <a:pos x="292" y="7"/>
              </a:cxn>
              <a:cxn ang="0">
                <a:pos x="290" y="20"/>
              </a:cxn>
              <a:cxn ang="0">
                <a:pos x="285" y="33"/>
              </a:cxn>
              <a:cxn ang="0">
                <a:pos x="279" y="55"/>
              </a:cxn>
              <a:cxn ang="0">
                <a:pos x="135" y="70"/>
              </a:cxn>
              <a:cxn ang="0">
                <a:pos x="99" y="89"/>
              </a:cxn>
              <a:cxn ang="0">
                <a:pos x="79" y="96"/>
              </a:cxn>
              <a:cxn ang="0">
                <a:pos x="66" y="98"/>
              </a:cxn>
              <a:cxn ang="0">
                <a:pos x="55" y="98"/>
              </a:cxn>
              <a:cxn ang="0">
                <a:pos x="45" y="94"/>
              </a:cxn>
              <a:cxn ang="0">
                <a:pos x="33" y="86"/>
              </a:cxn>
              <a:cxn ang="0">
                <a:pos x="20" y="77"/>
              </a:cxn>
              <a:cxn ang="0">
                <a:pos x="7" y="69"/>
              </a:cxn>
              <a:cxn ang="0">
                <a:pos x="1" y="57"/>
              </a:cxn>
              <a:cxn ang="0">
                <a:pos x="0" y="42"/>
              </a:cxn>
              <a:cxn ang="0">
                <a:pos x="1" y="25"/>
              </a:cxn>
              <a:cxn ang="0">
                <a:pos x="3" y="20"/>
              </a:cxn>
              <a:cxn ang="0">
                <a:pos x="9" y="18"/>
              </a:cxn>
              <a:cxn ang="0">
                <a:pos x="15" y="21"/>
              </a:cxn>
              <a:cxn ang="0">
                <a:pos x="25" y="28"/>
              </a:cxn>
              <a:cxn ang="0">
                <a:pos x="35" y="32"/>
              </a:cxn>
              <a:cxn ang="0">
                <a:pos x="45" y="34"/>
              </a:cxn>
              <a:cxn ang="0">
                <a:pos x="54" y="33"/>
              </a:cxn>
              <a:cxn ang="0">
                <a:pos x="67" y="29"/>
              </a:cxn>
              <a:cxn ang="0">
                <a:pos x="81" y="19"/>
              </a:cxn>
              <a:cxn ang="0">
                <a:pos x="88" y="11"/>
              </a:cxn>
              <a:cxn ang="0">
                <a:pos x="94" y="6"/>
              </a:cxn>
              <a:cxn ang="0">
                <a:pos x="109" y="1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643811" y="3133254"/>
            <a:ext cx="19050" cy="57151"/>
          </a:xfrm>
          <a:custGeom>
            <a:avLst/>
            <a:gdLst/>
            <a:ahLst/>
            <a:cxnLst>
              <a:cxn ang="0">
                <a:pos x="39" y="93"/>
              </a:cxn>
              <a:cxn ang="0">
                <a:pos x="31" y="91"/>
              </a:cxn>
              <a:cxn ang="0">
                <a:pos x="26" y="89"/>
              </a:cxn>
              <a:cxn ang="0">
                <a:pos x="21" y="87"/>
              </a:cxn>
              <a:cxn ang="0">
                <a:pos x="18" y="84"/>
              </a:cxn>
              <a:cxn ang="0">
                <a:pos x="15" y="79"/>
              </a:cxn>
              <a:cxn ang="0">
                <a:pos x="14" y="73"/>
              </a:cxn>
              <a:cxn ang="0">
                <a:pos x="13" y="65"/>
              </a:cxn>
              <a:cxn ang="0">
                <a:pos x="11" y="55"/>
              </a:cxn>
              <a:cxn ang="0">
                <a:pos x="11" y="48"/>
              </a:cxn>
              <a:cxn ang="0">
                <a:pos x="9" y="42"/>
              </a:cxn>
              <a:cxn ang="0">
                <a:pos x="6" y="38"/>
              </a:cxn>
              <a:cxn ang="0">
                <a:pos x="4" y="36"/>
              </a:cxn>
              <a:cxn ang="0">
                <a:pos x="2" y="34"/>
              </a:cxn>
              <a:cxn ang="0">
                <a:pos x="0" y="32"/>
              </a:cxn>
              <a:cxn ang="0">
                <a:pos x="2" y="29"/>
              </a:cxn>
              <a:cxn ang="0">
                <a:pos x="5" y="24"/>
              </a:cxn>
              <a:cxn ang="0">
                <a:pos x="6" y="28"/>
              </a:cxn>
              <a:cxn ang="0">
                <a:pos x="7" y="29"/>
              </a:cxn>
              <a:cxn ang="0">
                <a:pos x="8" y="30"/>
              </a:cxn>
              <a:cxn ang="0">
                <a:pos x="9" y="29"/>
              </a:cxn>
              <a:cxn ang="0">
                <a:pos x="11" y="25"/>
              </a:cxn>
              <a:cxn ang="0">
                <a:pos x="14" y="19"/>
              </a:cxn>
              <a:cxn ang="0">
                <a:pos x="16" y="12"/>
              </a:cxn>
              <a:cxn ang="0">
                <a:pos x="20" y="6"/>
              </a:cxn>
              <a:cxn ang="0">
                <a:pos x="22" y="4"/>
              </a:cxn>
              <a:cxn ang="0">
                <a:pos x="25" y="2"/>
              </a:cxn>
              <a:cxn ang="0">
                <a:pos x="28" y="0"/>
              </a:cxn>
              <a:cxn ang="0">
                <a:pos x="32" y="0"/>
              </a:cxn>
              <a:cxn ang="0">
                <a:pos x="33" y="10"/>
              </a:cxn>
              <a:cxn ang="0">
                <a:pos x="33" y="16"/>
              </a:cxn>
              <a:cxn ang="0">
                <a:pos x="33" y="20"/>
              </a:cxn>
              <a:cxn ang="0">
                <a:pos x="32" y="23"/>
              </a:cxn>
              <a:cxn ang="0">
                <a:pos x="32" y="27"/>
              </a:cxn>
              <a:cxn ang="0">
                <a:pos x="32" y="31"/>
              </a:cxn>
              <a:cxn ang="0">
                <a:pos x="35" y="36"/>
              </a:cxn>
              <a:cxn ang="0">
                <a:pos x="39" y="43"/>
              </a:cxn>
              <a:cxn ang="0">
                <a:pos x="38" y="44"/>
              </a:cxn>
              <a:cxn ang="0">
                <a:pos x="37" y="45"/>
              </a:cxn>
              <a:cxn ang="0">
                <a:pos x="37" y="48"/>
              </a:cxn>
              <a:cxn ang="0">
                <a:pos x="38" y="51"/>
              </a:cxn>
              <a:cxn ang="0">
                <a:pos x="39" y="59"/>
              </a:cxn>
              <a:cxn ang="0">
                <a:pos x="41" y="68"/>
              </a:cxn>
              <a:cxn ang="0">
                <a:pos x="42" y="76"/>
              </a:cxn>
              <a:cxn ang="0">
                <a:pos x="43" y="85"/>
              </a:cxn>
              <a:cxn ang="0">
                <a:pos x="43" y="88"/>
              </a:cxn>
              <a:cxn ang="0">
                <a:pos x="42" y="91"/>
              </a:cxn>
              <a:cxn ang="0">
                <a:pos x="40" y="92"/>
              </a:cxn>
              <a:cxn ang="0">
                <a:pos x="39" y="93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762883" y="3138018"/>
            <a:ext cx="14287" cy="57151"/>
          </a:xfrm>
          <a:custGeom>
            <a:avLst/>
            <a:gdLst/>
            <a:ahLst/>
            <a:cxnLst>
              <a:cxn ang="0">
                <a:pos x="40" y="56"/>
              </a:cxn>
              <a:cxn ang="0">
                <a:pos x="37" y="46"/>
              </a:cxn>
              <a:cxn ang="0">
                <a:pos x="33" y="38"/>
              </a:cxn>
              <a:cxn ang="0">
                <a:pos x="28" y="32"/>
              </a:cxn>
              <a:cxn ang="0">
                <a:pos x="23" y="28"/>
              </a:cxn>
              <a:cxn ang="0">
                <a:pos x="11" y="21"/>
              </a:cxn>
              <a:cxn ang="0">
                <a:pos x="0" y="12"/>
              </a:cxn>
              <a:cxn ang="0">
                <a:pos x="13" y="4"/>
              </a:cxn>
              <a:cxn ang="0">
                <a:pos x="20" y="0"/>
              </a:cxn>
              <a:cxn ang="0">
                <a:pos x="28" y="12"/>
              </a:cxn>
              <a:cxn ang="0">
                <a:pos x="35" y="22"/>
              </a:cxn>
              <a:cxn ang="0">
                <a:pos x="37" y="25"/>
              </a:cxn>
              <a:cxn ang="0">
                <a:pos x="39" y="29"/>
              </a:cxn>
              <a:cxn ang="0">
                <a:pos x="39" y="33"/>
              </a:cxn>
              <a:cxn ang="0">
                <a:pos x="40" y="37"/>
              </a:cxn>
              <a:cxn ang="0">
                <a:pos x="40" y="44"/>
              </a:cxn>
              <a:cxn ang="0">
                <a:pos x="40" y="46"/>
              </a:cxn>
              <a:cxn ang="0">
                <a:pos x="40" y="49"/>
              </a:cxn>
              <a:cxn ang="0">
                <a:pos x="40" y="56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250361" y="3798418"/>
            <a:ext cx="44450" cy="57151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2" y="10"/>
              </a:cxn>
              <a:cxn ang="0">
                <a:pos x="24" y="12"/>
              </a:cxn>
              <a:cxn ang="0">
                <a:pos x="35" y="13"/>
              </a:cxn>
              <a:cxn ang="0">
                <a:pos x="45" y="13"/>
              </a:cxn>
              <a:cxn ang="0">
                <a:pos x="54" y="11"/>
              </a:cxn>
              <a:cxn ang="0">
                <a:pos x="61" y="8"/>
              </a:cxn>
              <a:cxn ang="0">
                <a:pos x="68" y="5"/>
              </a:cxn>
              <a:cxn ang="0">
                <a:pos x="74" y="0"/>
              </a:cxn>
              <a:cxn ang="0">
                <a:pos x="84" y="16"/>
              </a:cxn>
              <a:cxn ang="0">
                <a:pos x="94" y="30"/>
              </a:cxn>
              <a:cxn ang="0">
                <a:pos x="101" y="44"/>
              </a:cxn>
              <a:cxn ang="0">
                <a:pos x="105" y="55"/>
              </a:cxn>
              <a:cxn ang="0">
                <a:pos x="106" y="60"/>
              </a:cxn>
              <a:cxn ang="0">
                <a:pos x="106" y="63"/>
              </a:cxn>
              <a:cxn ang="0">
                <a:pos x="105" y="67"/>
              </a:cxn>
              <a:cxn ang="0">
                <a:pos x="103" y="69"/>
              </a:cxn>
              <a:cxn ang="0">
                <a:pos x="101" y="70"/>
              </a:cxn>
              <a:cxn ang="0">
                <a:pos x="98" y="70"/>
              </a:cxn>
              <a:cxn ang="0">
                <a:pos x="92" y="70"/>
              </a:cxn>
              <a:cxn ang="0">
                <a:pos x="87" y="68"/>
              </a:cxn>
              <a:cxn ang="0">
                <a:pos x="74" y="70"/>
              </a:cxn>
              <a:cxn ang="0">
                <a:pos x="63" y="71"/>
              </a:cxn>
              <a:cxn ang="0">
                <a:pos x="53" y="69"/>
              </a:cxn>
              <a:cxn ang="0">
                <a:pos x="45" y="66"/>
              </a:cxn>
              <a:cxn ang="0">
                <a:pos x="37" y="62"/>
              </a:cxn>
              <a:cxn ang="0">
                <a:pos x="32" y="57"/>
              </a:cxn>
              <a:cxn ang="0">
                <a:pos x="27" y="51"/>
              </a:cxn>
              <a:cxn ang="0">
                <a:pos x="24" y="45"/>
              </a:cxn>
              <a:cxn ang="0">
                <a:pos x="21" y="38"/>
              </a:cxn>
              <a:cxn ang="0">
                <a:pos x="20" y="30"/>
              </a:cxn>
              <a:cxn ang="0">
                <a:pos x="19" y="24"/>
              </a:cxn>
              <a:cxn ang="0">
                <a:pos x="18" y="19"/>
              </a:cxn>
              <a:cxn ang="0">
                <a:pos x="18" y="14"/>
              </a:cxn>
              <a:cxn ang="0">
                <a:pos x="19" y="10"/>
              </a:cxn>
              <a:cxn ang="0">
                <a:pos x="20" y="7"/>
              </a:cxn>
              <a:cxn ang="0">
                <a:pos x="21" y="7"/>
              </a:cxn>
              <a:cxn ang="0">
                <a:pos x="20" y="10"/>
              </a:cxn>
              <a:cxn ang="0">
                <a:pos x="19" y="16"/>
              </a:cxn>
              <a:cxn ang="0">
                <a:pos x="19" y="17"/>
              </a:cxn>
              <a:cxn ang="0">
                <a:pos x="19" y="17"/>
              </a:cxn>
              <a:cxn ang="0">
                <a:pos x="20" y="17"/>
              </a:cxn>
              <a:cxn ang="0">
                <a:pos x="21" y="17"/>
              </a:cxn>
              <a:cxn ang="0">
                <a:pos x="23" y="13"/>
              </a:cxn>
              <a:cxn ang="0">
                <a:pos x="27" y="7"/>
              </a:cxn>
              <a:cxn ang="0">
                <a:pos x="0" y="7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7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3102239" y="5606605"/>
            <a:ext cx="65087" cy="55563"/>
            <a:chOff x="1654" y="3671"/>
            <a:chExt cx="49" cy="17"/>
          </a:xfrm>
        </p:grpSpPr>
        <p:sp>
          <p:nvSpPr>
            <p:cNvPr id="38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/>
              <a:ahLst/>
              <a:cxnLst>
                <a:cxn ang="0">
                  <a:pos x="26" y="43"/>
                </a:cxn>
                <a:cxn ang="0">
                  <a:pos x="59" y="18"/>
                </a:cxn>
                <a:cxn ang="0">
                  <a:pos x="55" y="14"/>
                </a:cxn>
                <a:cxn ang="0">
                  <a:pos x="51" y="9"/>
                </a:cxn>
                <a:cxn ang="0">
                  <a:pos x="47" y="5"/>
                </a:cxn>
                <a:cxn ang="0">
                  <a:pos x="46" y="0"/>
                </a:cxn>
                <a:cxn ang="0">
                  <a:pos x="41" y="1"/>
                </a:cxn>
                <a:cxn ang="0">
                  <a:pos x="34" y="4"/>
                </a:cxn>
                <a:cxn ang="0">
                  <a:pos x="31" y="6"/>
                </a:cxn>
                <a:cxn ang="0">
                  <a:pos x="29" y="8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0" y="13"/>
                </a:cxn>
                <a:cxn ang="0">
                  <a:pos x="13" y="16"/>
                </a:cxn>
                <a:cxn ang="0">
                  <a:pos x="6" y="20"/>
                </a:cxn>
                <a:cxn ang="0">
                  <a:pos x="0" y="24"/>
                </a:cxn>
                <a:cxn ang="0">
                  <a:pos x="5" y="29"/>
                </a:cxn>
                <a:cxn ang="0">
                  <a:pos x="10" y="34"/>
                </a:cxn>
                <a:cxn ang="0">
                  <a:pos x="18" y="39"/>
                </a:cxn>
                <a:cxn ang="0">
                  <a:pos x="26" y="43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4" y="1"/>
                </a:cxn>
                <a:cxn ang="0">
                  <a:pos x="39" y="0"/>
                </a:cxn>
                <a:cxn ang="0">
                  <a:pos x="45" y="1"/>
                </a:cxn>
                <a:cxn ang="0">
                  <a:pos x="51" y="2"/>
                </a:cxn>
                <a:cxn ang="0">
                  <a:pos x="58" y="4"/>
                </a:cxn>
                <a:cxn ang="0">
                  <a:pos x="67" y="8"/>
                </a:cxn>
                <a:cxn ang="0">
                  <a:pos x="55" y="13"/>
                </a:cxn>
                <a:cxn ang="0">
                  <a:pos x="46" y="19"/>
                </a:cxn>
                <a:cxn ang="0">
                  <a:pos x="42" y="22"/>
                </a:cxn>
                <a:cxn ang="0">
                  <a:pos x="36" y="24"/>
                </a:cxn>
                <a:cxn ang="0">
                  <a:pos x="29" y="26"/>
                </a:cxn>
                <a:cxn ang="0">
                  <a:pos x="20" y="26"/>
                </a:cxn>
                <a:cxn ang="0">
                  <a:pos x="24" y="26"/>
                </a:cxn>
                <a:cxn ang="0">
                  <a:pos x="34" y="26"/>
                </a:cxn>
                <a:cxn ang="0">
                  <a:pos x="29" y="34"/>
                </a:cxn>
                <a:cxn ang="0">
                  <a:pos x="25" y="40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12" y="48"/>
                </a:cxn>
                <a:cxn ang="0">
                  <a:pos x="0" y="51"/>
                </a:cxn>
                <a:cxn ang="0">
                  <a:pos x="0" y="2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0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749799" y="3401569"/>
            <a:ext cx="31750" cy="58737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1" y="19"/>
              </a:cxn>
              <a:cxn ang="0">
                <a:pos x="2" y="21"/>
              </a:cxn>
              <a:cxn ang="0">
                <a:pos x="4" y="24"/>
              </a:cxn>
              <a:cxn ang="0">
                <a:pos x="7" y="26"/>
              </a:cxn>
              <a:cxn ang="0">
                <a:pos x="13" y="29"/>
              </a:cxn>
              <a:cxn ang="0">
                <a:pos x="22" y="31"/>
              </a:cxn>
              <a:cxn ang="0">
                <a:pos x="40" y="33"/>
              </a:cxn>
              <a:cxn ang="0">
                <a:pos x="54" y="34"/>
              </a:cxn>
              <a:cxn ang="0">
                <a:pos x="58" y="33"/>
              </a:cxn>
              <a:cxn ang="0">
                <a:pos x="62" y="32"/>
              </a:cxn>
              <a:cxn ang="0">
                <a:pos x="65" y="29"/>
              </a:cxn>
              <a:cxn ang="0">
                <a:pos x="67" y="27"/>
              </a:cxn>
              <a:cxn ang="0">
                <a:pos x="73" y="21"/>
              </a:cxn>
              <a:cxn ang="0">
                <a:pos x="80" y="15"/>
              </a:cxn>
              <a:cxn ang="0">
                <a:pos x="75" y="10"/>
              </a:cxn>
              <a:cxn ang="0">
                <a:pos x="70" y="7"/>
              </a:cxn>
              <a:cxn ang="0">
                <a:pos x="65" y="4"/>
              </a:cxn>
              <a:cxn ang="0">
                <a:pos x="60" y="2"/>
              </a:cxn>
              <a:cxn ang="0">
                <a:pos x="55" y="0"/>
              </a:cxn>
              <a:cxn ang="0">
                <a:pos x="51" y="0"/>
              </a:cxn>
              <a:cxn ang="0">
                <a:pos x="45" y="1"/>
              </a:cxn>
              <a:cxn ang="0">
                <a:pos x="41" y="2"/>
              </a:cxn>
              <a:cxn ang="0">
                <a:pos x="34" y="2"/>
              </a:cxn>
              <a:cxn ang="0">
                <a:pos x="21" y="2"/>
              </a:cxn>
              <a:cxn ang="0">
                <a:pos x="13" y="3"/>
              </a:cxn>
              <a:cxn ang="0">
                <a:pos x="7" y="5"/>
              </a:cxn>
              <a:cxn ang="0">
                <a:pos x="4" y="7"/>
              </a:cxn>
              <a:cxn ang="0">
                <a:pos x="2" y="9"/>
              </a:cxn>
              <a:cxn ang="0">
                <a:pos x="1" y="11"/>
              </a:cxn>
              <a:cxn ang="0">
                <a:pos x="0" y="15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805361" y="3407919"/>
            <a:ext cx="15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3"/>
              </a:cxn>
              <a:cxn ang="0">
                <a:pos x="7" y="7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818066" y="3409479"/>
            <a:ext cx="6350" cy="58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3"/>
              </a:cxn>
              <a:cxn ang="0">
                <a:pos x="20" y="6"/>
              </a:cxn>
              <a:cxn ang="0">
                <a:pos x="0" y="0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832358" y="3399954"/>
            <a:ext cx="7937" cy="57151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4" y="0"/>
              </a:cxn>
              <a:cxn ang="0">
                <a:pos x="0" y="12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811726" y="3392045"/>
            <a:ext cx="1111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2" y="6"/>
              </a:cxn>
              <a:cxn ang="0">
                <a:pos x="7" y="7"/>
              </a:cxn>
              <a:cxn ang="0">
                <a:pos x="10" y="7"/>
              </a:cxn>
              <a:cxn ang="0">
                <a:pos x="15" y="6"/>
              </a:cxn>
              <a:cxn ang="0">
                <a:pos x="19" y="4"/>
              </a:cxn>
              <a:cxn ang="0">
                <a:pos x="23" y="2"/>
              </a:cxn>
              <a:cxn ang="0">
                <a:pos x="27" y="0"/>
              </a:cxn>
              <a:cxn ang="0">
                <a:pos x="0" y="0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860931" y="3420619"/>
            <a:ext cx="14287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" y="3"/>
              </a:cxn>
              <a:cxn ang="0">
                <a:pos x="27" y="6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868867" y="3417444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868867" y="3442817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868876" y="3438053"/>
            <a:ext cx="11113" cy="58739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4"/>
              </a:cxn>
              <a:cxn ang="0">
                <a:pos x="6" y="22"/>
              </a:cxn>
              <a:cxn ang="0">
                <a:pos x="9" y="20"/>
              </a:cxn>
              <a:cxn ang="0">
                <a:pos x="12" y="16"/>
              </a:cxn>
              <a:cxn ang="0">
                <a:pos x="15" y="13"/>
              </a:cxn>
              <a:cxn ang="0">
                <a:pos x="18" y="9"/>
              </a:cxn>
              <a:cxn ang="0">
                <a:pos x="19" y="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875218" y="3466656"/>
            <a:ext cx="17463" cy="5556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19"/>
              </a:cxn>
              <a:cxn ang="0">
                <a:pos x="10" y="20"/>
              </a:cxn>
              <a:cxn ang="0">
                <a:pos x="19" y="22"/>
              </a:cxn>
              <a:cxn ang="0">
                <a:pos x="27" y="25"/>
              </a:cxn>
              <a:cxn ang="0">
                <a:pos x="33" y="25"/>
              </a:cxn>
              <a:cxn ang="0">
                <a:pos x="33" y="0"/>
              </a:cxn>
              <a:cxn ang="0">
                <a:pos x="27" y="0"/>
              </a:cxn>
              <a:cxn ang="0">
                <a:pos x="13" y="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881568" y="3514254"/>
            <a:ext cx="15875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6"/>
              </a:cxn>
              <a:cxn ang="0">
                <a:pos x="6" y="11"/>
              </a:cxn>
              <a:cxn ang="0">
                <a:pos x="10" y="14"/>
              </a:cxn>
              <a:cxn ang="0">
                <a:pos x="15" y="16"/>
              </a:cxn>
              <a:cxn ang="0">
                <a:pos x="27" y="18"/>
              </a:cxn>
              <a:cxn ang="0">
                <a:pos x="40" y="18"/>
              </a:cxn>
              <a:cxn ang="0">
                <a:pos x="40" y="0"/>
              </a:cxn>
              <a:cxn ang="0">
                <a:pos x="30" y="0"/>
              </a:cxn>
              <a:cxn ang="0">
                <a:pos x="20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891091" y="3539654"/>
            <a:ext cx="3175" cy="57151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6" y="28"/>
              </a:cxn>
              <a:cxn ang="0">
                <a:pos x="8" y="25"/>
              </a:cxn>
              <a:cxn ang="0">
                <a:pos x="9" y="22"/>
              </a:cxn>
              <a:cxn ang="0">
                <a:pos x="10" y="18"/>
              </a:cxn>
              <a:cxn ang="0">
                <a:pos x="11" y="9"/>
              </a:cxn>
              <a:cxn ang="0">
                <a:pos x="11" y="0"/>
              </a:cxn>
              <a:cxn ang="0">
                <a:pos x="6" y="3"/>
              </a:cxn>
              <a:cxn ang="0">
                <a:pos x="3" y="7"/>
              </a:cxn>
              <a:cxn ang="0">
                <a:pos x="1" y="11"/>
              </a:cxn>
              <a:cxn ang="0">
                <a:pos x="0" y="16"/>
              </a:cxn>
              <a:cxn ang="0">
                <a:pos x="0" y="20"/>
              </a:cxn>
              <a:cxn ang="0">
                <a:pos x="1" y="24"/>
              </a:cxn>
              <a:cxn ang="0">
                <a:pos x="2" y="28"/>
              </a:cxn>
              <a:cxn ang="0">
                <a:pos x="4" y="32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913311" y="3569817"/>
            <a:ext cx="1588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4"/>
              </a:cxn>
              <a:cxn ang="0">
                <a:pos x="14" y="12"/>
              </a:cxn>
              <a:cxn ang="0">
                <a:pos x="0" y="0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75213" y="3582545"/>
            <a:ext cx="15875" cy="58737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7" y="15"/>
              </a:cxn>
              <a:cxn ang="0">
                <a:pos x="13" y="18"/>
              </a:cxn>
              <a:cxn ang="0">
                <a:pos x="22" y="7"/>
              </a:cxn>
              <a:cxn ang="0">
                <a:pos x="27" y="0"/>
              </a:cxn>
              <a:cxn ang="0">
                <a:pos x="22" y="0"/>
              </a:cxn>
              <a:cxn ang="0">
                <a:pos x="18" y="1"/>
              </a:cxn>
              <a:cxn ang="0">
                <a:pos x="13" y="2"/>
              </a:cxn>
              <a:cxn ang="0">
                <a:pos x="10" y="4"/>
              </a:cxn>
              <a:cxn ang="0">
                <a:pos x="5" y="8"/>
              </a:cxn>
              <a:cxn ang="0">
                <a:pos x="0" y="12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860924" y="3647604"/>
            <a:ext cx="23812" cy="57151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" y="39"/>
              </a:cxn>
              <a:cxn ang="0">
                <a:pos x="2" y="41"/>
              </a:cxn>
              <a:cxn ang="0">
                <a:pos x="4" y="43"/>
              </a:cxn>
              <a:cxn ang="0">
                <a:pos x="6" y="45"/>
              </a:cxn>
              <a:cxn ang="0">
                <a:pos x="12" y="48"/>
              </a:cxn>
              <a:cxn ang="0">
                <a:pos x="14" y="49"/>
              </a:cxn>
              <a:cxn ang="0">
                <a:pos x="18" y="49"/>
              </a:cxn>
              <a:cxn ang="0">
                <a:pos x="24" y="46"/>
              </a:cxn>
              <a:cxn ang="0">
                <a:pos x="29" y="42"/>
              </a:cxn>
              <a:cxn ang="0">
                <a:pos x="35" y="39"/>
              </a:cxn>
              <a:cxn ang="0">
                <a:pos x="39" y="35"/>
              </a:cxn>
              <a:cxn ang="0">
                <a:pos x="44" y="31"/>
              </a:cxn>
              <a:cxn ang="0">
                <a:pos x="46" y="27"/>
              </a:cxn>
              <a:cxn ang="0">
                <a:pos x="47" y="24"/>
              </a:cxn>
              <a:cxn ang="0">
                <a:pos x="47" y="12"/>
              </a:cxn>
              <a:cxn ang="0">
                <a:pos x="47" y="0"/>
              </a:cxn>
              <a:cxn ang="0">
                <a:pos x="27" y="0"/>
              </a:cxn>
              <a:cxn ang="0">
                <a:pos x="17" y="8"/>
              </a:cxn>
              <a:cxn ang="0">
                <a:pos x="9" y="16"/>
              </a:cxn>
              <a:cxn ang="0">
                <a:pos x="5" y="20"/>
              </a:cxn>
              <a:cxn ang="0">
                <a:pos x="2" y="25"/>
              </a:cxn>
              <a:cxn ang="0">
                <a:pos x="1" y="30"/>
              </a:cxn>
              <a:cxn ang="0">
                <a:pos x="0" y="36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879974" y="3623792"/>
            <a:ext cx="12700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3" y="7"/>
              </a:cxn>
              <a:cxn ang="0">
                <a:pos x="6" y="8"/>
              </a:cxn>
              <a:cxn ang="0">
                <a:pos x="11" y="9"/>
              </a:cxn>
              <a:cxn ang="0">
                <a:pos x="15" y="8"/>
              </a:cxn>
              <a:cxn ang="0">
                <a:pos x="20" y="7"/>
              </a:cxn>
              <a:cxn ang="0">
                <a:pos x="23" y="4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362453" y="3295179"/>
            <a:ext cx="15875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6" y="18"/>
              </a:cxn>
              <a:cxn ang="0">
                <a:pos x="13" y="18"/>
              </a:cxn>
              <a:cxn ang="0">
                <a:pos x="23" y="17"/>
              </a:cxn>
              <a:cxn ang="0">
                <a:pos x="30" y="14"/>
              </a:cxn>
              <a:cxn ang="0">
                <a:pos x="34" y="12"/>
              </a:cxn>
              <a:cxn ang="0">
                <a:pos x="37" y="10"/>
              </a:cxn>
              <a:cxn ang="0">
                <a:pos x="38" y="8"/>
              </a:cxn>
              <a:cxn ang="0">
                <a:pos x="39" y="6"/>
              </a:cxn>
              <a:cxn ang="0">
                <a:pos x="29" y="5"/>
              </a:cxn>
              <a:cxn ang="0">
                <a:pos x="19" y="3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7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487876" y="3128493"/>
            <a:ext cx="131763" cy="195263"/>
            <a:chOff x="1199" y="2121"/>
            <a:chExt cx="97" cy="123"/>
          </a:xfrm>
        </p:grpSpPr>
        <p:sp>
          <p:nvSpPr>
            <p:cNvPr id="58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5"/>
                </a:cxn>
                <a:cxn ang="0">
                  <a:pos x="15" y="24"/>
                </a:cxn>
                <a:cxn ang="0">
                  <a:pos x="23" y="22"/>
                </a:cxn>
                <a:cxn ang="0">
                  <a:pos x="30" y="19"/>
                </a:cxn>
                <a:cxn ang="0">
                  <a:pos x="38" y="15"/>
                </a:cxn>
                <a:cxn ang="0">
                  <a:pos x="43" y="11"/>
                </a:cxn>
                <a:cxn ang="0">
                  <a:pos x="49" y="6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3" y="1"/>
                </a:cxn>
                <a:cxn ang="0">
                  <a:pos x="16" y="3"/>
                </a:cxn>
                <a:cxn ang="0">
                  <a:pos x="11" y="6"/>
                </a:cxn>
                <a:cxn ang="0">
                  <a:pos x="5" y="10"/>
                </a:cxn>
                <a:cxn ang="0">
                  <a:pos x="2" y="16"/>
                </a:cxn>
                <a:cxn ang="0">
                  <a:pos x="0" y="25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  <a:cxn ang="0">
                  <a:pos x="9" y="13"/>
                </a:cxn>
                <a:cxn ang="0">
                  <a:pos x="16" y="13"/>
                </a:cxn>
                <a:cxn ang="0">
                  <a:pos x="24" y="11"/>
                </a:cxn>
                <a:cxn ang="0">
                  <a:pos x="33" y="6"/>
                </a:cxn>
                <a:cxn ang="0">
                  <a:pos x="24" y="3"/>
                </a:cxn>
                <a:cxn ang="0">
                  <a:pos x="16" y="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9" y="4"/>
                </a:cxn>
                <a:cxn ang="0">
                  <a:pos x="33" y="8"/>
                </a:cxn>
                <a:cxn ang="0">
                  <a:pos x="36" y="11"/>
                </a:cxn>
                <a:cxn ang="0">
                  <a:pos x="39" y="14"/>
                </a:cxn>
                <a:cxn ang="0">
                  <a:pos x="47" y="17"/>
                </a:cxn>
                <a:cxn ang="0">
                  <a:pos x="54" y="18"/>
                </a:cxn>
                <a:cxn ang="0">
                  <a:pos x="58" y="30"/>
                </a:cxn>
                <a:cxn ang="0">
                  <a:pos x="62" y="40"/>
                </a:cxn>
                <a:cxn ang="0">
                  <a:pos x="63" y="45"/>
                </a:cxn>
                <a:cxn ang="0">
                  <a:pos x="66" y="50"/>
                </a:cxn>
                <a:cxn ang="0">
                  <a:pos x="66" y="55"/>
                </a:cxn>
                <a:cxn ang="0">
                  <a:pos x="67" y="61"/>
                </a:cxn>
                <a:cxn ang="0">
                  <a:pos x="63" y="74"/>
                </a:cxn>
                <a:cxn ang="0">
                  <a:pos x="60" y="86"/>
                </a:cxn>
                <a:cxn ang="0">
                  <a:pos x="55" y="69"/>
                </a:cxn>
                <a:cxn ang="0">
                  <a:pos x="51" y="54"/>
                </a:cxn>
                <a:cxn ang="0">
                  <a:pos x="50" y="47"/>
                </a:cxn>
                <a:cxn ang="0">
                  <a:pos x="50" y="41"/>
                </a:cxn>
                <a:cxn ang="0">
                  <a:pos x="51" y="35"/>
                </a:cxn>
                <a:cxn ang="0">
                  <a:pos x="54" y="30"/>
                </a:cxn>
                <a:cxn ang="0">
                  <a:pos x="44" y="30"/>
                </a:cxn>
                <a:cxn ang="0">
                  <a:pos x="35" y="29"/>
                </a:cxn>
                <a:cxn ang="0">
                  <a:pos x="32" y="27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8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0" y="6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13"/>
                </a:cxn>
                <a:cxn ang="0">
                  <a:pos x="1" y="21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3" y="43"/>
                </a:cxn>
                <a:cxn ang="0">
                  <a:pos x="5" y="50"/>
                </a:cxn>
                <a:cxn ang="0">
                  <a:pos x="8" y="58"/>
                </a:cxn>
                <a:cxn ang="0">
                  <a:pos x="12" y="66"/>
                </a:cxn>
                <a:cxn ang="0">
                  <a:pos x="17" y="74"/>
                </a:cxn>
                <a:cxn ang="0">
                  <a:pos x="22" y="80"/>
                </a:cxn>
                <a:cxn ang="0">
                  <a:pos x="27" y="86"/>
                </a:cxn>
                <a:cxn ang="0">
                  <a:pos x="31" y="79"/>
                </a:cxn>
                <a:cxn ang="0">
                  <a:pos x="37" y="69"/>
                </a:cxn>
                <a:cxn ang="0">
                  <a:pos x="42" y="57"/>
                </a:cxn>
                <a:cxn ang="0">
                  <a:pos x="46" y="45"/>
                </a:cxn>
                <a:cxn ang="0">
                  <a:pos x="49" y="39"/>
                </a:cxn>
                <a:cxn ang="0">
                  <a:pos x="49" y="33"/>
                </a:cxn>
                <a:cxn ang="0">
                  <a:pos x="49" y="26"/>
                </a:cxn>
                <a:cxn ang="0">
                  <a:pos x="48" y="22"/>
                </a:cxn>
                <a:cxn ang="0">
                  <a:pos x="44" y="18"/>
                </a:cxn>
                <a:cxn ang="0">
                  <a:pos x="40" y="15"/>
                </a:cxn>
                <a:cxn ang="0">
                  <a:pos x="34" y="13"/>
                </a:cxn>
                <a:cxn ang="0">
                  <a:pos x="27" y="12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2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9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39" y="30"/>
                </a:cxn>
                <a:cxn ang="0">
                  <a:pos x="36" y="39"/>
                </a:cxn>
                <a:cxn ang="0">
                  <a:pos x="33" y="48"/>
                </a:cxn>
                <a:cxn ang="0">
                  <a:pos x="18" y="36"/>
                </a:cxn>
                <a:cxn ang="0">
                  <a:pos x="8" y="26"/>
                </a:cxn>
                <a:cxn ang="0">
                  <a:pos x="4" y="21"/>
                </a:cxn>
                <a:cxn ang="0">
                  <a:pos x="2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9"/>
                </a:cxn>
                <a:cxn ang="0">
                  <a:pos x="15" y="16"/>
                </a:cxn>
                <a:cxn ang="0">
                  <a:pos x="16" y="22"/>
                </a:cxn>
                <a:cxn ang="0">
                  <a:pos x="16" y="27"/>
                </a:cxn>
                <a:cxn ang="0">
                  <a:pos x="15" y="31"/>
                </a:cxn>
                <a:cxn ang="0">
                  <a:pos x="11" y="35"/>
                </a:cxn>
                <a:cxn ang="0">
                  <a:pos x="7" y="39"/>
                </a:cxn>
                <a:cxn ang="0">
                  <a:pos x="0" y="43"/>
                </a:cxn>
                <a:cxn ang="0">
                  <a:pos x="2" y="28"/>
                </a:cxn>
                <a:cxn ang="0">
                  <a:pos x="4" y="18"/>
                </a:cxn>
                <a:cxn ang="0">
                  <a:pos x="6" y="9"/>
                </a:cxn>
                <a:cxn ang="0">
                  <a:pos x="7" y="0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19" y="27"/>
                </a:cxn>
                <a:cxn ang="0">
                  <a:pos x="15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6" y="10"/>
                </a:cxn>
                <a:cxn ang="0">
                  <a:pos x="3" y="19"/>
                </a:cxn>
                <a:cxn ang="0">
                  <a:pos x="1" y="26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2" y="35"/>
                </a:cxn>
                <a:cxn ang="0">
                  <a:pos x="4" y="36"/>
                </a:cxn>
                <a:cxn ang="0">
                  <a:pos x="6" y="37"/>
                </a:cxn>
                <a:cxn ang="0">
                  <a:pos x="14" y="37"/>
                </a:cxn>
                <a:cxn ang="0">
                  <a:pos x="24" y="36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13"/>
                </a:cxn>
                <a:cxn ang="0">
                  <a:pos x="34" y="25"/>
                </a:cxn>
                <a:cxn ang="0">
                  <a:pos x="33" y="32"/>
                </a:cxn>
                <a:cxn ang="0">
                  <a:pos x="31" y="38"/>
                </a:cxn>
                <a:cxn ang="0">
                  <a:pos x="29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14" y="53"/>
                </a:cxn>
                <a:cxn ang="0">
                  <a:pos x="8" y="55"/>
                </a:cxn>
                <a:cxn ang="0">
                  <a:pos x="0" y="55"/>
                </a:cxn>
                <a:cxn ang="0">
                  <a:pos x="9" y="36"/>
                </a:cxn>
                <a:cxn ang="0">
                  <a:pos x="14" y="21"/>
                </a:cxn>
                <a:cxn ang="0">
                  <a:pos x="18" y="16"/>
                </a:cxn>
                <a:cxn ang="0">
                  <a:pos x="22" y="10"/>
                </a:cxn>
                <a:cxn ang="0">
                  <a:pos x="28" y="5"/>
                </a:cxn>
                <a:cxn ang="0">
                  <a:pos x="34" y="0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7"/>
                </a:cxn>
                <a:cxn ang="0">
                  <a:pos x="10" y="9"/>
                </a:cxn>
                <a:cxn ang="0">
                  <a:pos x="14" y="11"/>
                </a:cxn>
                <a:cxn ang="0">
                  <a:pos x="23" y="12"/>
                </a:cxn>
                <a:cxn ang="0">
                  <a:pos x="33" y="12"/>
                </a:cxn>
                <a:cxn ang="0">
                  <a:pos x="28" y="8"/>
                </a:cxn>
                <a:cxn ang="0">
                  <a:pos x="19" y="4"/>
                </a:cxn>
                <a:cxn ang="0">
                  <a:pos x="10" y="1"/>
                </a:cxn>
                <a:cxn ang="0">
                  <a:pos x="0" y="0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8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301286" y="4555654"/>
            <a:ext cx="12700" cy="57151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0" y="53"/>
              </a:cxn>
              <a:cxn ang="0">
                <a:pos x="0" y="45"/>
              </a:cxn>
              <a:cxn ang="0">
                <a:pos x="0" y="37"/>
              </a:cxn>
              <a:cxn ang="0">
                <a:pos x="0" y="31"/>
              </a:cxn>
              <a:cxn ang="0">
                <a:pos x="0" y="26"/>
              </a:cxn>
              <a:cxn ang="0">
                <a:pos x="2" y="22"/>
              </a:cxn>
              <a:cxn ang="0">
                <a:pos x="4" y="17"/>
              </a:cxn>
              <a:cxn ang="0">
                <a:pos x="8" y="13"/>
              </a:cxn>
              <a:cxn ang="0">
                <a:pos x="14" y="6"/>
              </a:cxn>
              <a:cxn ang="0">
                <a:pos x="20" y="0"/>
              </a:cxn>
              <a:cxn ang="0">
                <a:pos x="26" y="6"/>
              </a:cxn>
              <a:cxn ang="0">
                <a:pos x="33" y="13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310826" y="4646169"/>
            <a:ext cx="9525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26" y="0"/>
              </a:cxn>
              <a:cxn ang="0">
                <a:pos x="6" y="12"/>
              </a:cxn>
              <a:cxn ang="0">
                <a:pos x="6" y="6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425111" y="4555682"/>
            <a:ext cx="77788" cy="130175"/>
          </a:xfrm>
          <a:custGeom>
            <a:avLst/>
            <a:gdLst/>
            <a:ahLst/>
            <a:cxnLst>
              <a:cxn ang="0">
                <a:pos x="180" y="222"/>
              </a:cxn>
              <a:cxn ang="0">
                <a:pos x="175" y="223"/>
              </a:cxn>
              <a:cxn ang="0">
                <a:pos x="171" y="223"/>
              </a:cxn>
              <a:cxn ang="0">
                <a:pos x="167" y="225"/>
              </a:cxn>
              <a:cxn ang="0">
                <a:pos x="164" y="227"/>
              </a:cxn>
              <a:cxn ang="0">
                <a:pos x="158" y="232"/>
              </a:cxn>
              <a:cxn ang="0">
                <a:pos x="153" y="240"/>
              </a:cxn>
              <a:cxn ang="0">
                <a:pos x="140" y="232"/>
              </a:cxn>
              <a:cxn ang="0">
                <a:pos x="131" y="223"/>
              </a:cxn>
              <a:cxn ang="0">
                <a:pos x="123" y="214"/>
              </a:cxn>
              <a:cxn ang="0">
                <a:pos x="118" y="206"/>
              </a:cxn>
              <a:cxn ang="0">
                <a:pos x="112" y="195"/>
              </a:cxn>
              <a:cxn ang="0">
                <a:pos x="106" y="185"/>
              </a:cxn>
              <a:cxn ang="0">
                <a:pos x="98" y="174"/>
              </a:cxn>
              <a:cxn ang="0">
                <a:pos x="87" y="161"/>
              </a:cxn>
              <a:cxn ang="0">
                <a:pos x="82" y="153"/>
              </a:cxn>
              <a:cxn ang="0">
                <a:pos x="75" y="146"/>
              </a:cxn>
              <a:cxn ang="0">
                <a:pos x="70" y="139"/>
              </a:cxn>
              <a:cxn ang="0">
                <a:pos x="62" y="133"/>
              </a:cxn>
              <a:cxn ang="0">
                <a:pos x="48" y="121"/>
              </a:cxn>
              <a:cxn ang="0">
                <a:pos x="33" y="110"/>
              </a:cxn>
              <a:cxn ang="0">
                <a:pos x="27" y="104"/>
              </a:cxn>
              <a:cxn ang="0">
                <a:pos x="21" y="98"/>
              </a:cxn>
              <a:cxn ang="0">
                <a:pos x="15" y="92"/>
              </a:cxn>
              <a:cxn ang="0">
                <a:pos x="10" y="84"/>
              </a:cxn>
              <a:cxn ang="0">
                <a:pos x="6" y="77"/>
              </a:cxn>
              <a:cxn ang="0">
                <a:pos x="4" y="68"/>
              </a:cxn>
              <a:cxn ang="0">
                <a:pos x="1" y="60"/>
              </a:cxn>
              <a:cxn ang="0">
                <a:pos x="0" y="50"/>
              </a:cxn>
              <a:cxn ang="0">
                <a:pos x="0" y="35"/>
              </a:cxn>
              <a:cxn ang="0">
                <a:pos x="0" y="25"/>
              </a:cxn>
              <a:cxn ang="0">
                <a:pos x="0" y="15"/>
              </a:cxn>
              <a:cxn ang="0">
                <a:pos x="0" y="0"/>
              </a:cxn>
              <a:cxn ang="0">
                <a:pos x="10" y="8"/>
              </a:cxn>
              <a:cxn ang="0">
                <a:pos x="19" y="17"/>
              </a:cxn>
              <a:cxn ang="0">
                <a:pos x="27" y="27"/>
              </a:cxn>
              <a:cxn ang="0">
                <a:pos x="34" y="38"/>
              </a:cxn>
              <a:cxn ang="0">
                <a:pos x="41" y="48"/>
              </a:cxn>
              <a:cxn ang="0">
                <a:pos x="46" y="58"/>
              </a:cxn>
              <a:cxn ang="0">
                <a:pos x="51" y="66"/>
              </a:cxn>
              <a:cxn ang="0">
                <a:pos x="54" y="74"/>
              </a:cxn>
              <a:cxn ang="0">
                <a:pos x="60" y="86"/>
              </a:cxn>
              <a:cxn ang="0">
                <a:pos x="66" y="98"/>
              </a:cxn>
              <a:cxn ang="0">
                <a:pos x="74" y="107"/>
              </a:cxn>
              <a:cxn ang="0">
                <a:pos x="82" y="116"/>
              </a:cxn>
              <a:cxn ang="0">
                <a:pos x="100" y="133"/>
              </a:cxn>
              <a:cxn ang="0">
                <a:pos x="119" y="149"/>
              </a:cxn>
              <a:cxn ang="0">
                <a:pos x="139" y="164"/>
              </a:cxn>
              <a:cxn ang="0">
                <a:pos x="155" y="180"/>
              </a:cxn>
              <a:cxn ang="0">
                <a:pos x="163" y="189"/>
              </a:cxn>
              <a:cxn ang="0">
                <a:pos x="169" y="199"/>
              </a:cxn>
              <a:cxn ang="0">
                <a:pos x="175" y="210"/>
              </a:cxn>
              <a:cxn ang="0">
                <a:pos x="180" y="222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425111" y="4528667"/>
            <a:ext cx="14288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11"/>
              </a:cxn>
              <a:cxn ang="0">
                <a:pos x="4" y="14"/>
              </a:cxn>
              <a:cxn ang="0">
                <a:pos x="4" y="19"/>
              </a:cxn>
              <a:cxn ang="0">
                <a:pos x="3" y="24"/>
              </a:cxn>
              <a:cxn ang="0">
                <a:pos x="0" y="30"/>
              </a:cxn>
              <a:cxn ang="0">
                <a:pos x="17" y="27"/>
              </a:cxn>
              <a:cxn ang="0">
                <a:pos x="27" y="24"/>
              </a:cxn>
              <a:cxn ang="0">
                <a:pos x="23" y="20"/>
              </a:cxn>
              <a:cxn ang="0">
                <a:pos x="17" y="12"/>
              </a:cxn>
              <a:cxn ang="0">
                <a:pos x="11" y="8"/>
              </a:cxn>
              <a:cxn ang="0">
                <a:pos x="7" y="4"/>
              </a:cxn>
              <a:cxn ang="0">
                <a:pos x="4" y="1"/>
              </a:cxn>
              <a:cxn ang="0">
                <a:pos x="0" y="0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2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115564" y="5049367"/>
            <a:ext cx="458787" cy="404812"/>
            <a:chOff x="5372" y="3323"/>
            <a:chExt cx="341" cy="253"/>
          </a:xfrm>
        </p:grpSpPr>
        <p:sp>
          <p:nvSpPr>
            <p:cNvPr id="73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26"/>
                </a:cxn>
                <a:cxn ang="0">
                  <a:pos x="8" y="21"/>
                </a:cxn>
                <a:cxn ang="0">
                  <a:pos x="15" y="16"/>
                </a:cxn>
                <a:cxn ang="0">
                  <a:pos x="21" y="11"/>
                </a:cxn>
                <a:cxn ang="0">
                  <a:pos x="29" y="7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53" y="0"/>
                </a:cxn>
                <a:cxn ang="0">
                  <a:pos x="53" y="18"/>
                </a:cxn>
                <a:cxn ang="0">
                  <a:pos x="38" y="24"/>
                </a:cxn>
                <a:cxn ang="0">
                  <a:pos x="27" y="30"/>
                </a:cxn>
                <a:cxn ang="0">
                  <a:pos x="21" y="32"/>
                </a:cxn>
                <a:cxn ang="0">
                  <a:pos x="16" y="33"/>
                </a:cxn>
                <a:cxn ang="0">
                  <a:pos x="9" y="33"/>
                </a:cxn>
                <a:cxn ang="0">
                  <a:pos x="0" y="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/>
              <a:ahLst/>
              <a:cxnLst>
                <a:cxn ang="0">
                  <a:pos x="24" y="296"/>
                </a:cxn>
                <a:cxn ang="0">
                  <a:pos x="50" y="290"/>
                </a:cxn>
                <a:cxn ang="0">
                  <a:pos x="65" y="277"/>
                </a:cxn>
                <a:cxn ang="0">
                  <a:pos x="79" y="253"/>
                </a:cxn>
                <a:cxn ang="0">
                  <a:pos x="100" y="256"/>
                </a:cxn>
                <a:cxn ang="0">
                  <a:pos x="126" y="253"/>
                </a:cxn>
                <a:cxn ang="0">
                  <a:pos x="141" y="247"/>
                </a:cxn>
                <a:cxn ang="0">
                  <a:pos x="162" y="229"/>
                </a:cxn>
                <a:cxn ang="0">
                  <a:pos x="180" y="208"/>
                </a:cxn>
                <a:cxn ang="0">
                  <a:pos x="211" y="192"/>
                </a:cxn>
                <a:cxn ang="0">
                  <a:pos x="260" y="175"/>
                </a:cxn>
                <a:cxn ang="0">
                  <a:pos x="329" y="152"/>
                </a:cxn>
                <a:cxn ang="0">
                  <a:pos x="361" y="137"/>
                </a:cxn>
                <a:cxn ang="0">
                  <a:pos x="392" y="130"/>
                </a:cxn>
                <a:cxn ang="0">
                  <a:pos x="406" y="127"/>
                </a:cxn>
                <a:cxn ang="0">
                  <a:pos x="440" y="107"/>
                </a:cxn>
                <a:cxn ang="0">
                  <a:pos x="469" y="80"/>
                </a:cxn>
                <a:cxn ang="0">
                  <a:pos x="478" y="63"/>
                </a:cxn>
                <a:cxn ang="0">
                  <a:pos x="504" y="58"/>
                </a:cxn>
                <a:cxn ang="0">
                  <a:pos x="537" y="36"/>
                </a:cxn>
                <a:cxn ang="0">
                  <a:pos x="568" y="11"/>
                </a:cxn>
                <a:cxn ang="0">
                  <a:pos x="591" y="0"/>
                </a:cxn>
                <a:cxn ang="0">
                  <a:pos x="602" y="22"/>
                </a:cxn>
                <a:cxn ang="0">
                  <a:pos x="617" y="30"/>
                </a:cxn>
                <a:cxn ang="0">
                  <a:pos x="625" y="46"/>
                </a:cxn>
                <a:cxn ang="0">
                  <a:pos x="601" y="88"/>
                </a:cxn>
                <a:cxn ang="0">
                  <a:pos x="568" y="125"/>
                </a:cxn>
                <a:cxn ang="0">
                  <a:pos x="529" y="154"/>
                </a:cxn>
                <a:cxn ang="0">
                  <a:pos x="487" y="173"/>
                </a:cxn>
                <a:cxn ang="0">
                  <a:pos x="445" y="180"/>
                </a:cxn>
                <a:cxn ang="0">
                  <a:pos x="438" y="197"/>
                </a:cxn>
                <a:cxn ang="0">
                  <a:pos x="433" y="200"/>
                </a:cxn>
                <a:cxn ang="0">
                  <a:pos x="395" y="199"/>
                </a:cxn>
                <a:cxn ang="0">
                  <a:pos x="367" y="210"/>
                </a:cxn>
                <a:cxn ang="0">
                  <a:pos x="347" y="212"/>
                </a:cxn>
                <a:cxn ang="0">
                  <a:pos x="338" y="204"/>
                </a:cxn>
                <a:cxn ang="0">
                  <a:pos x="313" y="241"/>
                </a:cxn>
                <a:cxn ang="0">
                  <a:pos x="272" y="280"/>
                </a:cxn>
                <a:cxn ang="0">
                  <a:pos x="220" y="315"/>
                </a:cxn>
                <a:cxn ang="0">
                  <a:pos x="164" y="343"/>
                </a:cxn>
                <a:cxn ang="0">
                  <a:pos x="110" y="357"/>
                </a:cxn>
                <a:cxn ang="0">
                  <a:pos x="71" y="356"/>
                </a:cxn>
                <a:cxn ang="0">
                  <a:pos x="56" y="348"/>
                </a:cxn>
                <a:cxn ang="0">
                  <a:pos x="33" y="340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/>
              <a:ahLst/>
              <a:cxnLst>
                <a:cxn ang="0">
                  <a:pos x="60" y="288"/>
                </a:cxn>
                <a:cxn ang="0">
                  <a:pos x="95" y="269"/>
                </a:cxn>
                <a:cxn ang="0">
                  <a:pos x="165" y="209"/>
                </a:cxn>
                <a:cxn ang="0">
                  <a:pos x="172" y="168"/>
                </a:cxn>
                <a:cxn ang="0">
                  <a:pos x="180" y="149"/>
                </a:cxn>
                <a:cxn ang="0">
                  <a:pos x="193" y="137"/>
                </a:cxn>
                <a:cxn ang="0">
                  <a:pos x="190" y="126"/>
                </a:cxn>
                <a:cxn ang="0">
                  <a:pos x="179" y="94"/>
                </a:cxn>
                <a:cxn ang="0">
                  <a:pos x="173" y="34"/>
                </a:cxn>
                <a:cxn ang="0">
                  <a:pos x="182" y="0"/>
                </a:cxn>
                <a:cxn ang="0">
                  <a:pos x="194" y="11"/>
                </a:cxn>
                <a:cxn ang="0">
                  <a:pos x="207" y="29"/>
                </a:cxn>
                <a:cxn ang="0">
                  <a:pos x="231" y="56"/>
                </a:cxn>
                <a:cxn ang="0">
                  <a:pos x="238" y="73"/>
                </a:cxn>
                <a:cxn ang="0">
                  <a:pos x="237" y="88"/>
                </a:cxn>
                <a:cxn ang="0">
                  <a:pos x="226" y="102"/>
                </a:cxn>
                <a:cxn ang="0">
                  <a:pos x="205" y="120"/>
                </a:cxn>
                <a:cxn ang="0">
                  <a:pos x="199" y="131"/>
                </a:cxn>
                <a:cxn ang="0">
                  <a:pos x="199" y="149"/>
                </a:cxn>
                <a:cxn ang="0">
                  <a:pos x="205" y="159"/>
                </a:cxn>
                <a:cxn ang="0">
                  <a:pos x="226" y="160"/>
                </a:cxn>
                <a:cxn ang="0">
                  <a:pos x="233" y="153"/>
                </a:cxn>
                <a:cxn ang="0">
                  <a:pos x="232" y="135"/>
                </a:cxn>
                <a:cxn ang="0">
                  <a:pos x="259" y="193"/>
                </a:cxn>
                <a:cxn ang="0">
                  <a:pos x="271" y="208"/>
                </a:cxn>
                <a:cxn ang="0">
                  <a:pos x="291" y="219"/>
                </a:cxn>
                <a:cxn ang="0">
                  <a:pos x="300" y="217"/>
                </a:cxn>
                <a:cxn ang="0">
                  <a:pos x="312" y="206"/>
                </a:cxn>
                <a:cxn ang="0">
                  <a:pos x="341" y="194"/>
                </a:cxn>
                <a:cxn ang="0">
                  <a:pos x="355" y="206"/>
                </a:cxn>
                <a:cxn ang="0">
                  <a:pos x="342" y="240"/>
                </a:cxn>
                <a:cxn ang="0">
                  <a:pos x="321" y="261"/>
                </a:cxn>
                <a:cxn ang="0">
                  <a:pos x="295" y="275"/>
                </a:cxn>
                <a:cxn ang="0">
                  <a:pos x="247" y="288"/>
                </a:cxn>
                <a:cxn ang="0">
                  <a:pos x="208" y="299"/>
                </a:cxn>
                <a:cxn ang="0">
                  <a:pos x="193" y="308"/>
                </a:cxn>
                <a:cxn ang="0">
                  <a:pos x="179" y="339"/>
                </a:cxn>
                <a:cxn ang="0">
                  <a:pos x="163" y="356"/>
                </a:cxn>
                <a:cxn ang="0">
                  <a:pos x="109" y="394"/>
                </a:cxn>
                <a:cxn ang="0">
                  <a:pos x="48" y="424"/>
                </a:cxn>
                <a:cxn ang="0">
                  <a:pos x="19" y="431"/>
                </a:cxn>
                <a:cxn ang="0">
                  <a:pos x="7" y="426"/>
                </a:cxn>
                <a:cxn ang="0">
                  <a:pos x="1" y="415"/>
                </a:cxn>
                <a:cxn ang="0">
                  <a:pos x="1" y="402"/>
                </a:cxn>
                <a:cxn ang="0">
                  <a:pos x="9" y="391"/>
                </a:cxn>
                <a:cxn ang="0">
                  <a:pos x="56" y="374"/>
                </a:cxn>
                <a:cxn ang="0">
                  <a:pos x="73" y="351"/>
                </a:cxn>
                <a:cxn ang="0">
                  <a:pos x="71" y="335"/>
                </a:cxn>
                <a:cxn ang="0">
                  <a:pos x="64" y="326"/>
                </a:cxn>
                <a:cxn ang="0">
                  <a:pos x="51" y="320"/>
                </a:cxn>
                <a:cxn ang="0">
                  <a:pos x="19" y="320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758376" y="3706342"/>
            <a:ext cx="9525" cy="57151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29"/>
              </a:cxn>
              <a:cxn ang="0">
                <a:pos x="3" y="17"/>
              </a:cxn>
              <a:cxn ang="0">
                <a:pos x="4" y="11"/>
              </a:cxn>
              <a:cxn ang="0">
                <a:pos x="6" y="7"/>
              </a:cxn>
              <a:cxn ang="0">
                <a:pos x="9" y="3"/>
              </a:cxn>
              <a:cxn ang="0">
                <a:pos x="15" y="0"/>
              </a:cxn>
              <a:cxn ang="0">
                <a:pos x="15" y="15"/>
              </a:cxn>
              <a:cxn ang="0">
                <a:pos x="18" y="31"/>
              </a:cxn>
              <a:cxn ang="0">
                <a:pos x="20" y="44"/>
              </a:cxn>
              <a:cxn ang="0">
                <a:pos x="21" y="49"/>
              </a:cxn>
              <a:cxn ang="0">
                <a:pos x="10" y="55"/>
              </a:cxn>
              <a:cxn ang="0">
                <a:pos x="0" y="62"/>
              </a:cxn>
              <a:cxn ang="0">
                <a:pos x="0" y="43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485441" y="4608042"/>
            <a:ext cx="14288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5"/>
              </a:cxn>
              <a:cxn ang="0">
                <a:pos x="10" y="10"/>
              </a:cxn>
              <a:cxn ang="0">
                <a:pos x="11" y="13"/>
              </a:cxn>
              <a:cxn ang="0">
                <a:pos x="12" y="16"/>
              </a:cxn>
              <a:cxn ang="0">
                <a:pos x="13" y="20"/>
              </a:cxn>
              <a:cxn ang="0">
                <a:pos x="13" y="24"/>
              </a:cxn>
              <a:cxn ang="0">
                <a:pos x="33" y="0"/>
              </a:cxn>
              <a:cxn ang="0">
                <a:pos x="24" y="0"/>
              </a:cxn>
              <a:cxn ang="0">
                <a:pos x="16" y="0"/>
              </a:cxn>
              <a:cxn ang="0">
                <a:pos x="9" y="0"/>
              </a:cxn>
              <a:cxn ang="0">
                <a:pos x="0" y="0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507663" y="4617594"/>
            <a:ext cx="17463" cy="58737"/>
          </a:xfrm>
          <a:custGeom>
            <a:avLst/>
            <a:gdLst/>
            <a:ahLst/>
            <a:cxnLst>
              <a:cxn ang="0">
                <a:pos x="26" y="25"/>
              </a:cxn>
              <a:cxn ang="0">
                <a:pos x="29" y="22"/>
              </a:cxn>
              <a:cxn ang="0">
                <a:pos x="33" y="18"/>
              </a:cxn>
              <a:cxn ang="0">
                <a:pos x="33" y="0"/>
              </a:cxn>
              <a:cxn ang="0">
                <a:pos x="25" y="0"/>
              </a:cxn>
              <a:cxn ang="0">
                <a:pos x="16" y="0"/>
              </a:cxn>
              <a:cxn ang="0">
                <a:pos x="6" y="0"/>
              </a:cxn>
              <a:cxn ang="0">
                <a:pos x="0" y="0"/>
              </a:cxn>
              <a:cxn ang="0">
                <a:pos x="26" y="25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821861" y="3695256"/>
            <a:ext cx="1588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880603" y="3639667"/>
            <a:ext cx="6350" cy="57151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6"/>
              </a:cxn>
              <a:cxn ang="0">
                <a:pos x="14" y="13"/>
              </a:cxn>
              <a:cxn ang="0">
                <a:pos x="13" y="16"/>
              </a:cxn>
              <a:cxn ang="0">
                <a:pos x="11" y="20"/>
              </a:cxn>
              <a:cxn ang="0">
                <a:pos x="7" y="23"/>
              </a:cxn>
              <a:cxn ang="0">
                <a:pos x="3" y="25"/>
              </a:cxn>
              <a:cxn ang="0">
                <a:pos x="1" y="24"/>
              </a:cxn>
              <a:cxn ang="0">
                <a:pos x="0" y="21"/>
              </a:cxn>
              <a:cxn ang="0">
                <a:pos x="1" y="18"/>
              </a:cxn>
              <a:cxn ang="0">
                <a:pos x="2" y="13"/>
              </a:cxn>
              <a:cxn ang="0">
                <a:pos x="4" y="9"/>
              </a:cxn>
              <a:cxn ang="0">
                <a:pos x="7" y="4"/>
              </a:cxn>
              <a:cxn ang="0">
                <a:pos x="11" y="1"/>
              </a:cxn>
              <a:cxn ang="0">
                <a:pos x="16" y="0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993317" y="3528542"/>
            <a:ext cx="4763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5" y="2"/>
              </a:cxn>
              <a:cxn ang="0">
                <a:pos x="7" y="4"/>
              </a:cxn>
              <a:cxn ang="0">
                <a:pos x="9" y="7"/>
              </a:cxn>
              <a:cxn ang="0">
                <a:pos x="13" y="13"/>
              </a:cxn>
              <a:cxn ang="0">
                <a:pos x="14" y="18"/>
              </a:cxn>
              <a:cxn ang="0">
                <a:pos x="0" y="0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145712" y="4227050"/>
            <a:ext cx="269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7"/>
              </a:cxn>
              <a:cxn ang="0">
                <a:pos x="3" y="30"/>
              </a:cxn>
              <a:cxn ang="0">
                <a:pos x="7" y="41"/>
              </a:cxn>
              <a:cxn ang="0">
                <a:pos x="12" y="50"/>
              </a:cxn>
              <a:cxn ang="0">
                <a:pos x="17" y="58"/>
              </a:cxn>
              <a:cxn ang="0">
                <a:pos x="23" y="64"/>
              </a:cxn>
              <a:cxn ang="0">
                <a:pos x="28" y="69"/>
              </a:cxn>
              <a:cxn ang="0">
                <a:pos x="33" y="74"/>
              </a:cxn>
              <a:cxn ang="0">
                <a:pos x="44" y="65"/>
              </a:cxn>
              <a:cxn ang="0">
                <a:pos x="55" y="55"/>
              </a:cxn>
              <a:cxn ang="0">
                <a:pos x="59" y="49"/>
              </a:cxn>
              <a:cxn ang="0">
                <a:pos x="63" y="43"/>
              </a:cxn>
              <a:cxn ang="0">
                <a:pos x="66" y="37"/>
              </a:cxn>
              <a:cxn ang="0">
                <a:pos x="67" y="30"/>
              </a:cxn>
              <a:cxn ang="0">
                <a:pos x="67" y="25"/>
              </a:cxn>
              <a:cxn ang="0">
                <a:pos x="67" y="18"/>
              </a:cxn>
              <a:cxn ang="0">
                <a:pos x="67" y="9"/>
              </a:cxn>
              <a:cxn ang="0">
                <a:pos x="67" y="0"/>
              </a:cxn>
              <a:cxn ang="0">
                <a:pos x="48" y="0"/>
              </a:cxn>
              <a:cxn ang="0">
                <a:pos x="33" y="0"/>
              </a:cxn>
              <a:cxn ang="0">
                <a:pos x="17" y="0"/>
              </a:cxn>
              <a:cxn ang="0">
                <a:pos x="0" y="0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209211" y="4241330"/>
            <a:ext cx="12700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3"/>
              </a:cxn>
              <a:cxn ang="0">
                <a:pos x="4" y="7"/>
              </a:cxn>
              <a:cxn ang="0">
                <a:pos x="5" y="11"/>
              </a:cxn>
              <a:cxn ang="0">
                <a:pos x="6" y="16"/>
              </a:cxn>
              <a:cxn ang="0">
                <a:pos x="10" y="28"/>
              </a:cxn>
              <a:cxn ang="0">
                <a:pos x="13" y="38"/>
              </a:cxn>
              <a:cxn ang="0">
                <a:pos x="16" y="37"/>
              </a:cxn>
              <a:cxn ang="0">
                <a:pos x="20" y="36"/>
              </a:cxn>
              <a:cxn ang="0">
                <a:pos x="23" y="34"/>
              </a:cxn>
              <a:cxn ang="0">
                <a:pos x="26" y="31"/>
              </a:cxn>
              <a:cxn ang="0">
                <a:pos x="28" y="28"/>
              </a:cxn>
              <a:cxn ang="0">
                <a:pos x="32" y="24"/>
              </a:cxn>
              <a:cxn ang="0">
                <a:pos x="33" y="21"/>
              </a:cxn>
              <a:cxn ang="0">
                <a:pos x="34" y="19"/>
              </a:cxn>
              <a:cxn ang="0">
                <a:pos x="31" y="18"/>
              </a:cxn>
              <a:cxn ang="0">
                <a:pos x="28" y="17"/>
              </a:cxn>
              <a:cxn ang="0">
                <a:pos x="26" y="14"/>
              </a:cxn>
              <a:cxn ang="0">
                <a:pos x="24" y="12"/>
              </a:cxn>
              <a:cxn ang="0">
                <a:pos x="19" y="6"/>
              </a:cxn>
              <a:cxn ang="0">
                <a:pos x="13" y="0"/>
              </a:cxn>
              <a:cxn ang="0">
                <a:pos x="6" y="0"/>
              </a:cxn>
              <a:cxn ang="0">
                <a:pos x="0" y="0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8066341" y="4017492"/>
            <a:ext cx="25400" cy="55563"/>
          </a:xfrm>
          <a:custGeom>
            <a:avLst/>
            <a:gdLst/>
            <a:ahLst/>
            <a:cxnLst>
              <a:cxn ang="0">
                <a:pos x="53" y="23"/>
              </a:cxn>
              <a:cxn ang="0">
                <a:pos x="53" y="4"/>
              </a:cxn>
              <a:cxn ang="0">
                <a:pos x="49" y="2"/>
              </a:cxn>
              <a:cxn ang="0">
                <a:pos x="45" y="1"/>
              </a:cxn>
              <a:cxn ang="0">
                <a:pos x="42" y="0"/>
              </a:cxn>
              <a:cxn ang="0">
                <a:pos x="38" y="0"/>
              </a:cxn>
              <a:cxn ang="0">
                <a:pos x="31" y="1"/>
              </a:cxn>
              <a:cxn ang="0">
                <a:pos x="24" y="4"/>
              </a:cxn>
              <a:cxn ang="0">
                <a:pos x="11" y="13"/>
              </a:cxn>
              <a:cxn ang="0">
                <a:pos x="0" y="23"/>
              </a:cxn>
              <a:cxn ang="0">
                <a:pos x="53" y="23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8009201" y="3992092"/>
            <a:ext cx="11113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4"/>
              </a:cxn>
              <a:cxn ang="0">
                <a:pos x="11" y="8"/>
              </a:cxn>
              <a:cxn ang="0">
                <a:pos x="14" y="9"/>
              </a:cxn>
              <a:cxn ang="0">
                <a:pos x="18" y="11"/>
              </a:cxn>
              <a:cxn ang="0">
                <a:pos x="22" y="11"/>
              </a:cxn>
              <a:cxn ang="0">
                <a:pos x="26" y="12"/>
              </a:cxn>
              <a:cxn ang="0">
                <a:pos x="21" y="7"/>
              </a:cxn>
              <a:cxn ang="0">
                <a:pos x="13" y="3"/>
              </a:cxn>
              <a:cxn ang="0">
                <a:pos x="5" y="1"/>
              </a:cxn>
              <a:cxn ang="0">
                <a:pos x="0" y="0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209211" y="4323879"/>
            <a:ext cx="31750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37" y="0"/>
              </a:cxn>
              <a:cxn ang="0">
                <a:pos x="55" y="0"/>
              </a:cxn>
              <a:cxn ang="0">
                <a:pos x="73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164776" y="4312767"/>
            <a:ext cx="22225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0"/>
              </a:cxn>
              <a:cxn ang="0">
                <a:pos x="27" y="3"/>
              </a:cxn>
              <a:cxn ang="0">
                <a:pos x="32" y="3"/>
              </a:cxn>
              <a:cxn ang="0">
                <a:pos x="39" y="3"/>
              </a:cxn>
              <a:cxn ang="0">
                <a:pos x="45" y="1"/>
              </a:cxn>
              <a:cxn ang="0">
                <a:pos x="53" y="0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8198114" y="4298479"/>
            <a:ext cx="20637" cy="635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218736" y="4304830"/>
            <a:ext cx="1588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13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172706" y="4298479"/>
            <a:ext cx="14287" cy="58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0"/>
              </a:cxn>
              <a:cxn ang="0">
                <a:pos x="26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166351" y="4279438"/>
            <a:ext cx="6350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3"/>
              </a:cxn>
              <a:cxn ang="0">
                <a:pos x="4" y="18"/>
              </a:cxn>
              <a:cxn ang="0">
                <a:pos x="10" y="21"/>
              </a:cxn>
              <a:cxn ang="0">
                <a:pos x="14" y="24"/>
              </a:cxn>
              <a:cxn ang="0">
                <a:pos x="20" y="25"/>
              </a:cxn>
              <a:cxn ang="0">
                <a:pos x="20" y="0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247311" y="4006379"/>
            <a:ext cx="1588" cy="57151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0"/>
              </a:cxn>
              <a:cxn ang="0">
                <a:pos x="6" y="12"/>
              </a:cxn>
              <a:cxn ang="0">
                <a:pos x="0" y="24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8121899" y="3677767"/>
            <a:ext cx="163512" cy="114300"/>
            <a:chOff x="5379" y="2466"/>
            <a:chExt cx="122" cy="71"/>
          </a:xfrm>
        </p:grpSpPr>
        <p:sp>
          <p:nvSpPr>
            <p:cNvPr id="94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8" y="20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" y="7"/>
                </a:cxn>
                <a:cxn ang="0">
                  <a:pos x="5" y="15"/>
                </a:cxn>
                <a:cxn ang="0">
                  <a:pos x="7" y="19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9" y="25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5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7" y="18"/>
                </a:cxn>
                <a:cxn ang="0">
                  <a:pos x="3" y="9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3" y="6"/>
                </a:cxn>
                <a:cxn ang="0">
                  <a:pos x="20" y="12"/>
                </a:cxn>
                <a:cxn ang="0">
                  <a:pos x="26" y="18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0"/>
                </a:cxn>
                <a:cxn ang="0">
                  <a:pos x="0" y="18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" y="23"/>
                </a:cxn>
                <a:cxn ang="0">
                  <a:pos x="7" y="22"/>
                </a:cxn>
                <a:cxn ang="0">
                  <a:pos x="11" y="19"/>
                </a:cxn>
                <a:cxn ang="0">
                  <a:pos x="16" y="16"/>
                </a:cxn>
                <a:cxn ang="0">
                  <a:pos x="20" y="13"/>
                </a:cxn>
                <a:cxn ang="0">
                  <a:pos x="23" y="9"/>
                </a:cxn>
                <a:cxn ang="0">
                  <a:pos x="25" y="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0" y="6"/>
                </a:cxn>
                <a:cxn ang="0">
                  <a:pos x="17" y="5"/>
                </a:cxn>
                <a:cxn ang="0">
                  <a:pos x="25" y="4"/>
                </a:cxn>
                <a:cxn ang="0">
                  <a:pos x="34" y="0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9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0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7" y="3"/>
                </a:cxn>
                <a:cxn ang="0">
                  <a:pos x="0" y="6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3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705855" y="3539654"/>
            <a:ext cx="6350" cy="57151"/>
          </a:xfrm>
          <a:custGeom>
            <a:avLst/>
            <a:gdLst/>
            <a:ahLst/>
            <a:cxnLst>
              <a:cxn ang="0">
                <a:pos x="13" y="111"/>
              </a:cxn>
              <a:cxn ang="0">
                <a:pos x="9" y="103"/>
              </a:cxn>
              <a:cxn ang="0">
                <a:pos x="4" y="95"/>
              </a:cxn>
              <a:cxn ang="0">
                <a:pos x="2" y="91"/>
              </a:cxn>
              <a:cxn ang="0">
                <a:pos x="1" y="87"/>
              </a:cxn>
              <a:cxn ang="0">
                <a:pos x="0" y="80"/>
              </a:cxn>
              <a:cxn ang="0">
                <a:pos x="0" y="74"/>
              </a:cxn>
              <a:cxn ang="0">
                <a:pos x="0" y="61"/>
              </a:cxn>
              <a:cxn ang="0">
                <a:pos x="1" y="51"/>
              </a:cxn>
              <a:cxn ang="0">
                <a:pos x="3" y="41"/>
              </a:cxn>
              <a:cxn ang="0">
                <a:pos x="5" y="33"/>
              </a:cxn>
              <a:cxn ang="0">
                <a:pos x="9" y="24"/>
              </a:cxn>
              <a:cxn ang="0">
                <a:pos x="14" y="17"/>
              </a:cxn>
              <a:cxn ang="0">
                <a:pos x="20" y="9"/>
              </a:cxn>
              <a:cxn ang="0">
                <a:pos x="26" y="0"/>
              </a:cxn>
              <a:cxn ang="0">
                <a:pos x="26" y="6"/>
              </a:cxn>
              <a:cxn ang="0">
                <a:pos x="26" y="13"/>
              </a:cxn>
              <a:cxn ang="0">
                <a:pos x="26" y="22"/>
              </a:cxn>
              <a:cxn ang="0">
                <a:pos x="26" y="32"/>
              </a:cxn>
              <a:cxn ang="0">
                <a:pos x="25" y="44"/>
              </a:cxn>
              <a:cxn ang="0">
                <a:pos x="22" y="56"/>
              </a:cxn>
              <a:cxn ang="0">
                <a:pos x="18" y="67"/>
              </a:cxn>
              <a:cxn ang="0">
                <a:pos x="13" y="80"/>
              </a:cxn>
              <a:cxn ang="0">
                <a:pos x="13" y="111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605476" y="5679604"/>
            <a:ext cx="53975" cy="58739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11" y="20"/>
              </a:cxn>
              <a:cxn ang="0">
                <a:pos x="21" y="21"/>
              </a:cxn>
              <a:cxn ang="0">
                <a:pos x="29" y="23"/>
              </a:cxn>
              <a:cxn ang="0">
                <a:pos x="36" y="26"/>
              </a:cxn>
              <a:cxn ang="0">
                <a:pos x="50" y="33"/>
              </a:cxn>
              <a:cxn ang="0">
                <a:pos x="61" y="40"/>
              </a:cxn>
              <a:cxn ang="0">
                <a:pos x="70" y="48"/>
              </a:cxn>
              <a:cxn ang="0">
                <a:pos x="79" y="55"/>
              </a:cxn>
              <a:cxn ang="0">
                <a:pos x="84" y="58"/>
              </a:cxn>
              <a:cxn ang="0">
                <a:pos x="89" y="60"/>
              </a:cxn>
              <a:cxn ang="0">
                <a:pos x="95" y="61"/>
              </a:cxn>
              <a:cxn ang="0">
                <a:pos x="100" y="62"/>
              </a:cxn>
              <a:cxn ang="0">
                <a:pos x="105" y="61"/>
              </a:cxn>
              <a:cxn ang="0">
                <a:pos x="109" y="60"/>
              </a:cxn>
              <a:cxn ang="0">
                <a:pos x="113" y="58"/>
              </a:cxn>
              <a:cxn ang="0">
                <a:pos x="117" y="56"/>
              </a:cxn>
              <a:cxn ang="0">
                <a:pos x="122" y="51"/>
              </a:cxn>
              <a:cxn ang="0">
                <a:pos x="126" y="49"/>
              </a:cxn>
              <a:cxn ang="0">
                <a:pos x="110" y="33"/>
              </a:cxn>
              <a:cxn ang="0">
                <a:pos x="96" y="21"/>
              </a:cxn>
              <a:cxn ang="0">
                <a:pos x="89" y="15"/>
              </a:cxn>
              <a:cxn ang="0">
                <a:pos x="81" y="9"/>
              </a:cxn>
              <a:cxn ang="0">
                <a:pos x="72" y="5"/>
              </a:cxn>
              <a:cxn ang="0">
                <a:pos x="61" y="0"/>
              </a:cxn>
              <a:cxn ang="0">
                <a:pos x="0" y="0"/>
              </a:cxn>
              <a:cxn ang="0">
                <a:pos x="0" y="9"/>
              </a:cxn>
              <a:cxn ang="0">
                <a:pos x="0" y="19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907351" y="5517705"/>
            <a:ext cx="30163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"/>
              </a:cxn>
              <a:cxn ang="0">
                <a:pos x="23" y="2"/>
              </a:cxn>
              <a:cxn ang="0">
                <a:pos x="32" y="4"/>
              </a:cxn>
              <a:cxn ang="0">
                <a:pos x="38" y="7"/>
              </a:cxn>
              <a:cxn ang="0">
                <a:pos x="44" y="9"/>
              </a:cxn>
              <a:cxn ang="0">
                <a:pos x="50" y="11"/>
              </a:cxn>
              <a:cxn ang="0">
                <a:pos x="57" y="12"/>
              </a:cxn>
              <a:cxn ang="0">
                <a:pos x="66" y="13"/>
              </a:cxn>
              <a:cxn ang="0">
                <a:pos x="65" y="17"/>
              </a:cxn>
              <a:cxn ang="0">
                <a:pos x="62" y="21"/>
              </a:cxn>
              <a:cxn ang="0">
                <a:pos x="60" y="25"/>
              </a:cxn>
              <a:cxn ang="0">
                <a:pos x="57" y="28"/>
              </a:cxn>
              <a:cxn ang="0">
                <a:pos x="49" y="34"/>
              </a:cxn>
              <a:cxn ang="0">
                <a:pos x="40" y="39"/>
              </a:cxn>
              <a:cxn ang="0">
                <a:pos x="31" y="42"/>
              </a:cxn>
              <a:cxn ang="0">
                <a:pos x="21" y="44"/>
              </a:cxn>
              <a:cxn ang="0">
                <a:pos x="10" y="44"/>
              </a:cxn>
              <a:cxn ang="0">
                <a:pos x="0" y="43"/>
              </a:cxn>
              <a:cxn ang="0">
                <a:pos x="0" y="31"/>
              </a:cxn>
              <a:cxn ang="0">
                <a:pos x="0" y="22"/>
              </a:cxn>
              <a:cxn ang="0">
                <a:pos x="0" y="12"/>
              </a:cxn>
              <a:cxn ang="0">
                <a:pos x="0" y="0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061589" y="2288705"/>
            <a:ext cx="20637" cy="57151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0" y="7"/>
              </a:cxn>
              <a:cxn ang="0">
                <a:pos x="35" y="13"/>
              </a:cxn>
              <a:cxn ang="0">
                <a:pos x="31" y="14"/>
              </a:cxn>
              <a:cxn ang="0">
                <a:pos x="29" y="15"/>
              </a:cxn>
              <a:cxn ang="0">
                <a:pos x="26" y="16"/>
              </a:cxn>
              <a:cxn ang="0">
                <a:pos x="23" y="16"/>
              </a:cxn>
              <a:cxn ang="0">
                <a:pos x="16" y="14"/>
              </a:cxn>
              <a:cxn ang="0">
                <a:pos x="11" y="11"/>
              </a:cxn>
              <a:cxn ang="0">
                <a:pos x="5" y="6"/>
              </a:cxn>
              <a:cxn ang="0">
                <a:pos x="0" y="0"/>
              </a:cxn>
              <a:cxn ang="0">
                <a:pos x="46" y="0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631837" y="2875583"/>
            <a:ext cx="15875" cy="57151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36" y="26"/>
              </a:cxn>
              <a:cxn ang="0">
                <a:pos x="32" y="26"/>
              </a:cxn>
              <a:cxn ang="0">
                <a:pos x="28" y="26"/>
              </a:cxn>
              <a:cxn ang="0">
                <a:pos x="25" y="25"/>
              </a:cxn>
              <a:cxn ang="0">
                <a:pos x="18" y="22"/>
              </a:cxn>
              <a:cxn ang="0">
                <a:pos x="12" y="18"/>
              </a:cxn>
              <a:cxn ang="0">
                <a:pos x="7" y="13"/>
              </a:cxn>
              <a:cxn ang="0">
                <a:pos x="3" y="7"/>
              </a:cxn>
              <a:cxn ang="0">
                <a:pos x="1" y="3"/>
              </a:cxn>
              <a:cxn ang="0">
                <a:pos x="0" y="0"/>
              </a:cxn>
              <a:cxn ang="0">
                <a:pos x="11" y="6"/>
              </a:cxn>
              <a:cxn ang="0">
                <a:pos x="22" y="13"/>
              </a:cxn>
              <a:cxn ang="0">
                <a:pos x="33" y="20"/>
              </a:cxn>
              <a:cxn ang="0">
                <a:pos x="39" y="25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686929" y="2552229"/>
            <a:ext cx="4762" cy="58739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1" y="5"/>
              </a:cxn>
              <a:cxn ang="0">
                <a:pos x="10" y="12"/>
              </a:cxn>
              <a:cxn ang="0">
                <a:pos x="9" y="20"/>
              </a:cxn>
              <a:cxn ang="0">
                <a:pos x="4" y="25"/>
              </a:cxn>
              <a:cxn ang="0">
                <a:pos x="2" y="23"/>
              </a:cxn>
              <a:cxn ang="0">
                <a:pos x="1" y="20"/>
              </a:cxn>
              <a:cxn ang="0">
                <a:pos x="0" y="15"/>
              </a:cxn>
              <a:cxn ang="0">
                <a:pos x="0" y="12"/>
              </a:cxn>
              <a:cxn ang="0">
                <a:pos x="1" y="9"/>
              </a:cxn>
              <a:cxn ang="0">
                <a:pos x="3" y="5"/>
              </a:cxn>
              <a:cxn ang="0">
                <a:pos x="6" y="2"/>
              </a:cxn>
              <a:cxn ang="0">
                <a:pos x="11" y="0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501190" y="3114204"/>
            <a:ext cx="14288" cy="58739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6" y="12"/>
              </a:cxn>
              <a:cxn ang="0">
                <a:pos x="10" y="20"/>
              </a:cxn>
              <a:cxn ang="0">
                <a:pos x="5" y="26"/>
              </a:cxn>
              <a:cxn ang="0">
                <a:pos x="0" y="31"/>
              </a:cxn>
              <a:cxn ang="0">
                <a:pos x="0" y="25"/>
              </a:cxn>
              <a:cxn ang="0">
                <a:pos x="1" y="19"/>
              </a:cxn>
              <a:cxn ang="0">
                <a:pos x="2" y="13"/>
              </a:cxn>
              <a:cxn ang="0">
                <a:pos x="5" y="9"/>
              </a:cxn>
              <a:cxn ang="0">
                <a:pos x="8" y="6"/>
              </a:cxn>
              <a:cxn ang="0">
                <a:pos x="11" y="3"/>
              </a:cxn>
              <a:cxn ang="0">
                <a:pos x="16" y="0"/>
              </a:cxn>
              <a:cxn ang="0">
                <a:pos x="20" y="0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518656" y="3049118"/>
            <a:ext cx="15875" cy="57151"/>
          </a:xfrm>
          <a:custGeom>
            <a:avLst/>
            <a:gdLst/>
            <a:ahLst/>
            <a:cxnLst>
              <a:cxn ang="0">
                <a:pos x="13" y="37"/>
              </a:cxn>
              <a:cxn ang="0">
                <a:pos x="0" y="12"/>
              </a:cxn>
              <a:cxn ang="0">
                <a:pos x="6" y="7"/>
              </a:cxn>
              <a:cxn ang="0">
                <a:pos x="13" y="4"/>
              </a:cxn>
              <a:cxn ang="0">
                <a:pos x="21" y="1"/>
              </a:cxn>
              <a:cxn ang="0">
                <a:pos x="26" y="0"/>
              </a:cxn>
              <a:cxn ang="0">
                <a:pos x="26" y="6"/>
              </a:cxn>
              <a:cxn ang="0">
                <a:pos x="25" y="11"/>
              </a:cxn>
              <a:cxn ang="0">
                <a:pos x="24" y="17"/>
              </a:cxn>
              <a:cxn ang="0">
                <a:pos x="23" y="21"/>
              </a:cxn>
              <a:cxn ang="0">
                <a:pos x="18" y="29"/>
              </a:cxn>
              <a:cxn ang="0">
                <a:pos x="13" y="37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407538" y="2898331"/>
            <a:ext cx="1587" cy="60325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7" y="12"/>
              </a:cxn>
              <a:cxn ang="0">
                <a:pos x="0" y="18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259520" y="2025179"/>
            <a:ext cx="9525" cy="57151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9" y="0"/>
              </a:cxn>
              <a:cxn ang="0">
                <a:pos x="24" y="5"/>
              </a:cxn>
              <a:cxn ang="0">
                <a:pos x="28" y="12"/>
              </a:cxn>
              <a:cxn ang="0">
                <a:pos x="32" y="22"/>
              </a:cxn>
              <a:cxn ang="0">
                <a:pos x="33" y="31"/>
              </a:cxn>
              <a:cxn ang="0">
                <a:pos x="27" y="30"/>
              </a:cxn>
              <a:cxn ang="0">
                <a:pos x="22" y="28"/>
              </a:cxn>
              <a:cxn ang="0">
                <a:pos x="16" y="25"/>
              </a:cxn>
              <a:cxn ang="0">
                <a:pos x="11" y="22"/>
              </a:cxn>
              <a:cxn ang="0">
                <a:pos x="3" y="15"/>
              </a:cxn>
              <a:cxn ang="0">
                <a:pos x="0" y="12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245231" y="1793405"/>
            <a:ext cx="3175" cy="57151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0" y="6"/>
              </a:cxn>
              <a:cxn ang="0">
                <a:pos x="14" y="0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726366" y="3571431"/>
            <a:ext cx="25400" cy="55563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429499" y="3433320"/>
            <a:ext cx="19050" cy="58737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0"/>
              </a:cxn>
              <a:cxn ang="0">
                <a:pos x="4" y="19"/>
              </a:cxn>
              <a:cxn ang="0">
                <a:pos x="2" y="28"/>
              </a:cxn>
              <a:cxn ang="0">
                <a:pos x="0" y="37"/>
              </a:cxn>
              <a:cxn ang="0">
                <a:pos x="0" y="42"/>
              </a:cxn>
              <a:cxn ang="0">
                <a:pos x="2" y="47"/>
              </a:cxn>
              <a:cxn ang="0">
                <a:pos x="3" y="51"/>
              </a:cxn>
              <a:cxn ang="0">
                <a:pos x="5" y="55"/>
              </a:cxn>
              <a:cxn ang="0">
                <a:pos x="7" y="58"/>
              </a:cxn>
              <a:cxn ang="0">
                <a:pos x="9" y="60"/>
              </a:cxn>
              <a:cxn ang="0">
                <a:pos x="13" y="62"/>
              </a:cxn>
              <a:cxn ang="0">
                <a:pos x="16" y="64"/>
              </a:cxn>
              <a:cxn ang="0">
                <a:pos x="22" y="67"/>
              </a:cxn>
              <a:cxn ang="0">
                <a:pos x="31" y="68"/>
              </a:cxn>
              <a:cxn ang="0">
                <a:pos x="39" y="68"/>
              </a:cxn>
              <a:cxn ang="0">
                <a:pos x="47" y="68"/>
              </a:cxn>
              <a:cxn ang="0">
                <a:pos x="41" y="58"/>
              </a:cxn>
              <a:cxn ang="0">
                <a:pos x="38" y="48"/>
              </a:cxn>
              <a:cxn ang="0">
                <a:pos x="36" y="43"/>
              </a:cxn>
              <a:cxn ang="0">
                <a:pos x="35" y="38"/>
              </a:cxn>
              <a:cxn ang="0">
                <a:pos x="33" y="31"/>
              </a:cxn>
              <a:cxn ang="0">
                <a:pos x="33" y="25"/>
              </a:cxn>
              <a:cxn ang="0">
                <a:pos x="24" y="13"/>
              </a:cxn>
              <a:cxn ang="0">
                <a:pos x="14" y="0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6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6201039" y="3620617"/>
            <a:ext cx="46037" cy="374651"/>
            <a:chOff x="3950" y="2430"/>
            <a:chExt cx="36" cy="234"/>
          </a:xfrm>
        </p:grpSpPr>
        <p:sp>
          <p:nvSpPr>
            <p:cNvPr id="117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8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9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4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6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7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8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9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0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1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4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5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7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9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0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1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2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3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4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5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6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7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13" y="18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266361" y="4120681"/>
            <a:ext cx="185738" cy="214313"/>
            <a:chOff x="5486" y="2743"/>
            <a:chExt cx="137" cy="132"/>
          </a:xfrm>
        </p:grpSpPr>
        <p:sp>
          <p:nvSpPr>
            <p:cNvPr id="149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2"/>
                </a:cxn>
                <a:cxn ang="0">
                  <a:pos x="2" y="51"/>
                </a:cxn>
                <a:cxn ang="0">
                  <a:pos x="5" y="59"/>
                </a:cxn>
                <a:cxn ang="0">
                  <a:pos x="10" y="66"/>
                </a:cxn>
                <a:cxn ang="0">
                  <a:pos x="15" y="72"/>
                </a:cxn>
                <a:cxn ang="0">
                  <a:pos x="22" y="77"/>
                </a:cxn>
                <a:cxn ang="0">
                  <a:pos x="31" y="82"/>
                </a:cxn>
                <a:cxn ang="0">
                  <a:pos x="40" y="87"/>
                </a:cxn>
                <a:cxn ang="0">
                  <a:pos x="35" y="82"/>
                </a:cxn>
                <a:cxn ang="0">
                  <a:pos x="32" y="77"/>
                </a:cxn>
                <a:cxn ang="0">
                  <a:pos x="29" y="71"/>
                </a:cxn>
                <a:cxn ang="0">
                  <a:pos x="26" y="65"/>
                </a:cxn>
                <a:cxn ang="0">
                  <a:pos x="22" y="52"/>
                </a:cxn>
                <a:cxn ang="0">
                  <a:pos x="20" y="39"/>
                </a:cxn>
                <a:cxn ang="0">
                  <a:pos x="18" y="27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8" y="6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0" y="31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9" y="32"/>
                </a:cxn>
                <a:cxn ang="0">
                  <a:pos x="35" y="34"/>
                </a:cxn>
                <a:cxn ang="0">
                  <a:pos x="49" y="36"/>
                </a:cxn>
                <a:cxn ang="0">
                  <a:pos x="61" y="37"/>
                </a:cxn>
                <a:cxn ang="0">
                  <a:pos x="55" y="29"/>
                </a:cxn>
                <a:cxn ang="0">
                  <a:pos x="49" y="22"/>
                </a:cxn>
                <a:cxn ang="0">
                  <a:pos x="42" y="17"/>
                </a:cxn>
                <a:cxn ang="0">
                  <a:pos x="35" y="12"/>
                </a:cxn>
                <a:cxn ang="0">
                  <a:pos x="28" y="9"/>
                </a:cxn>
                <a:cxn ang="0">
                  <a:pos x="19" y="5"/>
                </a:cxn>
                <a:cxn ang="0">
                  <a:pos x="10" y="2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/>
              <a:ahLst/>
              <a:cxnLst>
                <a:cxn ang="0">
                  <a:pos x="40" y="30"/>
                </a:cxn>
                <a:cxn ang="0">
                  <a:pos x="33" y="28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5" y="19"/>
                </a:cxn>
                <a:cxn ang="0">
                  <a:pos x="11" y="16"/>
                </a:cxn>
                <a:cxn ang="0">
                  <a:pos x="6" y="11"/>
                </a:cxn>
                <a:cxn ang="0">
                  <a:pos x="3" y="6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5" y="6"/>
                </a:cxn>
                <a:cxn ang="0">
                  <a:pos x="22" y="10"/>
                </a:cxn>
                <a:cxn ang="0">
                  <a:pos x="27" y="15"/>
                </a:cxn>
                <a:cxn ang="0">
                  <a:pos x="33" y="19"/>
                </a:cxn>
                <a:cxn ang="0">
                  <a:pos x="36" y="23"/>
                </a:cxn>
                <a:cxn ang="0">
                  <a:pos x="39" y="27"/>
                </a:cxn>
                <a:cxn ang="0">
                  <a:pos x="40" y="30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72" y="73"/>
                </a:cxn>
                <a:cxn ang="0">
                  <a:pos x="71" y="66"/>
                </a:cxn>
                <a:cxn ang="0">
                  <a:pos x="69" y="60"/>
                </a:cxn>
                <a:cxn ang="0">
                  <a:pos x="66" y="53"/>
                </a:cxn>
                <a:cxn ang="0">
                  <a:pos x="58" y="42"/>
                </a:cxn>
                <a:cxn ang="0">
                  <a:pos x="48" y="33"/>
                </a:cxn>
                <a:cxn ang="0">
                  <a:pos x="38" y="25"/>
                </a:cxn>
                <a:cxn ang="0">
                  <a:pos x="29" y="17"/>
                </a:cxn>
                <a:cxn ang="0">
                  <a:pos x="20" y="9"/>
                </a:cxn>
                <a:cxn ang="0">
                  <a:pos x="13" y="0"/>
                </a:cxn>
                <a:cxn ang="0">
                  <a:pos x="9" y="5"/>
                </a:cxn>
                <a:cxn ang="0">
                  <a:pos x="4" y="10"/>
                </a:cxn>
                <a:cxn ang="0">
                  <a:pos x="1" y="14"/>
                </a:cxn>
                <a:cxn ang="0">
                  <a:pos x="0" y="19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6"/>
                </a:cxn>
                <a:cxn ang="0">
                  <a:pos x="24" y="61"/>
                </a:cxn>
                <a:cxn ang="0">
                  <a:pos x="30" y="66"/>
                </a:cxn>
                <a:cxn ang="0">
                  <a:pos x="35" y="69"/>
                </a:cxn>
                <a:cxn ang="0">
                  <a:pos x="42" y="72"/>
                </a:cxn>
                <a:cxn ang="0">
                  <a:pos x="47" y="75"/>
                </a:cxn>
                <a:cxn ang="0">
                  <a:pos x="54" y="77"/>
                </a:cxn>
                <a:cxn ang="0">
                  <a:pos x="60" y="79"/>
                </a:cxn>
                <a:cxn ang="0">
                  <a:pos x="67" y="80"/>
                </a:cxn>
                <a:cxn ang="0">
                  <a:pos x="74" y="80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86" y="80"/>
                </a:cxn>
                <a:cxn ang="0">
                  <a:pos x="86" y="61"/>
                </a:cxn>
                <a:cxn ang="0">
                  <a:pos x="79" y="59"/>
                </a:cxn>
                <a:cxn ang="0">
                  <a:pos x="72" y="56"/>
                </a:cxn>
                <a:cxn ang="0">
                  <a:pos x="67" y="53"/>
                </a:cxn>
                <a:cxn ang="0">
                  <a:pos x="61" y="49"/>
                </a:cxn>
                <a:cxn ang="0">
                  <a:pos x="51" y="41"/>
                </a:cxn>
                <a:cxn ang="0">
                  <a:pos x="43" y="33"/>
                </a:cxn>
                <a:cxn ang="0">
                  <a:pos x="34" y="25"/>
                </a:cxn>
                <a:cxn ang="0">
                  <a:pos x="24" y="16"/>
                </a:cxn>
                <a:cxn ang="0">
                  <a:pos x="13" y="7"/>
                </a:cxn>
                <a:cxn ang="0">
                  <a:pos x="0" y="0"/>
                </a:cxn>
                <a:cxn ang="0">
                  <a:pos x="1" y="8"/>
                </a:cxn>
                <a:cxn ang="0">
                  <a:pos x="5" y="20"/>
                </a:cxn>
                <a:cxn ang="0">
                  <a:pos x="11" y="32"/>
                </a:cxn>
                <a:cxn ang="0">
                  <a:pos x="18" y="44"/>
                </a:cxn>
                <a:cxn ang="0">
                  <a:pos x="27" y="57"/>
                </a:cxn>
                <a:cxn ang="0">
                  <a:pos x="36" y="67"/>
                </a:cxn>
                <a:cxn ang="0">
                  <a:pos x="40" y="72"/>
                </a:cxn>
                <a:cxn ang="0">
                  <a:pos x="45" y="76"/>
                </a:cxn>
                <a:cxn ang="0">
                  <a:pos x="49" y="79"/>
                </a:cxn>
                <a:cxn ang="0">
                  <a:pos x="52" y="80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9" y="18"/>
                </a:cxn>
                <a:cxn ang="0">
                  <a:pos x="14" y="21"/>
                </a:cxn>
                <a:cxn ang="0">
                  <a:pos x="18" y="24"/>
                </a:cxn>
                <a:cxn ang="0">
                  <a:pos x="23" y="26"/>
                </a:cxn>
                <a:cxn ang="0">
                  <a:pos x="29" y="28"/>
                </a:cxn>
                <a:cxn ang="0">
                  <a:pos x="34" y="29"/>
                </a:cxn>
                <a:cxn ang="0">
                  <a:pos x="47" y="31"/>
                </a:cxn>
                <a:cxn ang="0">
                  <a:pos x="58" y="31"/>
                </a:cxn>
                <a:cxn ang="0">
                  <a:pos x="63" y="30"/>
                </a:cxn>
                <a:cxn ang="0">
                  <a:pos x="67" y="29"/>
                </a:cxn>
                <a:cxn ang="0">
                  <a:pos x="71" y="27"/>
                </a:cxn>
                <a:cxn ang="0">
                  <a:pos x="74" y="25"/>
                </a:cxn>
                <a:cxn ang="0">
                  <a:pos x="64" y="18"/>
                </a:cxn>
                <a:cxn ang="0">
                  <a:pos x="55" y="13"/>
                </a:cxn>
                <a:cxn ang="0">
                  <a:pos x="51" y="10"/>
                </a:cxn>
                <a:cxn ang="0">
                  <a:pos x="47" y="8"/>
                </a:cxn>
                <a:cxn ang="0">
                  <a:pos x="43" y="5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0" y="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2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/>
              <a:ahLst/>
              <a:cxnLst>
                <a:cxn ang="0">
                  <a:pos x="7" y="25"/>
                </a:cxn>
                <a:cxn ang="0">
                  <a:pos x="35" y="40"/>
                </a:cxn>
                <a:cxn ang="0">
                  <a:pos x="61" y="55"/>
                </a:cxn>
                <a:cxn ang="0">
                  <a:pos x="72" y="60"/>
                </a:cxn>
                <a:cxn ang="0">
                  <a:pos x="83" y="65"/>
                </a:cxn>
                <a:cxn ang="0">
                  <a:pos x="87" y="65"/>
                </a:cxn>
                <a:cxn ang="0">
                  <a:pos x="91" y="65"/>
                </a:cxn>
                <a:cxn ang="0">
                  <a:pos x="96" y="65"/>
                </a:cxn>
                <a:cxn ang="0">
                  <a:pos x="100" y="62"/>
                </a:cxn>
                <a:cxn ang="0">
                  <a:pos x="94" y="60"/>
                </a:cxn>
                <a:cxn ang="0">
                  <a:pos x="88" y="56"/>
                </a:cxn>
                <a:cxn ang="0">
                  <a:pos x="83" y="52"/>
                </a:cxn>
                <a:cxn ang="0">
                  <a:pos x="78" y="46"/>
                </a:cxn>
                <a:cxn ang="0">
                  <a:pos x="67" y="34"/>
                </a:cxn>
                <a:cxn ang="0">
                  <a:pos x="57" y="21"/>
                </a:cxn>
                <a:cxn ang="0">
                  <a:pos x="52" y="15"/>
                </a:cxn>
                <a:cxn ang="0">
                  <a:pos x="46" y="10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0" y="6"/>
                </a:cxn>
                <a:cxn ang="0">
                  <a:pos x="7" y="25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/>
              <a:ahLst/>
              <a:cxnLst>
                <a:cxn ang="0">
                  <a:pos x="72" y="85"/>
                </a:cxn>
                <a:cxn ang="0">
                  <a:pos x="56" y="61"/>
                </a:cxn>
                <a:cxn ang="0">
                  <a:pos x="43" y="41"/>
                </a:cxn>
                <a:cxn ang="0">
                  <a:pos x="29" y="20"/>
                </a:cxn>
                <a:cxn ang="0">
                  <a:pos x="12" y="0"/>
                </a:cxn>
                <a:cxn ang="0">
                  <a:pos x="6" y="16"/>
                </a:cxn>
                <a:cxn ang="0">
                  <a:pos x="2" y="33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62"/>
                </a:cxn>
                <a:cxn ang="0">
                  <a:pos x="1" y="68"/>
                </a:cxn>
                <a:cxn ang="0">
                  <a:pos x="3" y="74"/>
                </a:cxn>
                <a:cxn ang="0">
                  <a:pos x="6" y="79"/>
                </a:cxn>
                <a:cxn ang="0">
                  <a:pos x="10" y="83"/>
                </a:cxn>
                <a:cxn ang="0">
                  <a:pos x="14" y="88"/>
                </a:cxn>
                <a:cxn ang="0">
                  <a:pos x="20" y="90"/>
                </a:cxn>
                <a:cxn ang="0">
                  <a:pos x="25" y="92"/>
                </a:cxn>
                <a:cxn ang="0">
                  <a:pos x="33" y="92"/>
                </a:cxn>
                <a:cxn ang="0">
                  <a:pos x="43" y="93"/>
                </a:cxn>
                <a:cxn ang="0">
                  <a:pos x="54" y="96"/>
                </a:cxn>
                <a:cxn ang="0">
                  <a:pos x="65" y="100"/>
                </a:cxn>
                <a:cxn ang="0">
                  <a:pos x="79" y="104"/>
                </a:cxn>
                <a:cxn ang="0">
                  <a:pos x="72" y="85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8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611947" y="3858741"/>
            <a:ext cx="11113" cy="55563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9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535742" y="3998442"/>
            <a:ext cx="14288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0"/>
              </a:cxn>
              <a:cxn ang="0">
                <a:pos x="36" y="9"/>
              </a:cxn>
              <a:cxn ang="0">
                <a:pos x="33" y="19"/>
              </a:cxn>
              <a:cxn ang="0">
                <a:pos x="27" y="28"/>
              </a:cxn>
              <a:cxn ang="0">
                <a:pos x="22" y="34"/>
              </a:cxn>
              <a:cxn ang="0">
                <a:pos x="19" y="35"/>
              </a:cxn>
              <a:cxn ang="0">
                <a:pos x="16" y="35"/>
              </a:cxn>
              <a:cxn ang="0">
                <a:pos x="13" y="34"/>
              </a:cxn>
              <a:cxn ang="0">
                <a:pos x="11" y="31"/>
              </a:cxn>
              <a:cxn ang="0">
                <a:pos x="7" y="26"/>
              </a:cxn>
              <a:cxn ang="0">
                <a:pos x="5" y="20"/>
              </a:cxn>
              <a:cxn ang="0">
                <a:pos x="2" y="11"/>
              </a:cxn>
              <a:cxn ang="0">
                <a:pos x="0" y="0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334374" y="2325244"/>
            <a:ext cx="728662" cy="331787"/>
          </a:xfrm>
          <a:custGeom>
            <a:avLst/>
            <a:gdLst/>
            <a:ahLst/>
            <a:cxnLst>
              <a:cxn ang="0">
                <a:pos x="32" y="216"/>
              </a:cxn>
              <a:cxn ang="0">
                <a:pos x="86" y="249"/>
              </a:cxn>
              <a:cxn ang="0">
                <a:pos x="155" y="264"/>
              </a:cxn>
              <a:cxn ang="0">
                <a:pos x="191" y="281"/>
              </a:cxn>
              <a:cxn ang="0">
                <a:pos x="238" y="331"/>
              </a:cxn>
              <a:cxn ang="0">
                <a:pos x="253" y="349"/>
              </a:cxn>
              <a:cxn ang="0">
                <a:pos x="254" y="386"/>
              </a:cxn>
              <a:cxn ang="0">
                <a:pos x="273" y="408"/>
              </a:cxn>
              <a:cxn ang="0">
                <a:pos x="341" y="416"/>
              </a:cxn>
              <a:cxn ang="0">
                <a:pos x="463" y="452"/>
              </a:cxn>
              <a:cxn ang="0">
                <a:pos x="546" y="469"/>
              </a:cxn>
              <a:cxn ang="0">
                <a:pos x="575" y="510"/>
              </a:cxn>
              <a:cxn ang="0">
                <a:pos x="622" y="542"/>
              </a:cxn>
              <a:cxn ang="0">
                <a:pos x="670" y="555"/>
              </a:cxn>
              <a:cxn ang="0">
                <a:pos x="917" y="576"/>
              </a:cxn>
              <a:cxn ang="0">
                <a:pos x="1037" y="614"/>
              </a:cxn>
              <a:cxn ang="0">
                <a:pos x="1117" y="630"/>
              </a:cxn>
              <a:cxn ang="0">
                <a:pos x="1157" y="613"/>
              </a:cxn>
              <a:cxn ang="0">
                <a:pos x="1344" y="564"/>
              </a:cxn>
              <a:cxn ang="0">
                <a:pos x="1395" y="510"/>
              </a:cxn>
              <a:cxn ang="0">
                <a:pos x="1403" y="483"/>
              </a:cxn>
              <a:cxn ang="0">
                <a:pos x="1386" y="455"/>
              </a:cxn>
              <a:cxn ang="0">
                <a:pos x="1370" y="415"/>
              </a:cxn>
              <a:cxn ang="0">
                <a:pos x="1499" y="394"/>
              </a:cxn>
              <a:cxn ang="0">
                <a:pos x="1594" y="343"/>
              </a:cxn>
              <a:cxn ang="0">
                <a:pos x="1651" y="325"/>
              </a:cxn>
              <a:cxn ang="0">
                <a:pos x="1688" y="297"/>
              </a:cxn>
              <a:cxn ang="0">
                <a:pos x="1656" y="279"/>
              </a:cxn>
              <a:cxn ang="0">
                <a:pos x="1619" y="252"/>
              </a:cxn>
              <a:cxn ang="0">
                <a:pos x="1583" y="248"/>
              </a:cxn>
              <a:cxn ang="0">
                <a:pos x="1553" y="258"/>
              </a:cxn>
              <a:cxn ang="0">
                <a:pos x="1497" y="256"/>
              </a:cxn>
              <a:cxn ang="0">
                <a:pos x="1457" y="235"/>
              </a:cxn>
              <a:cxn ang="0">
                <a:pos x="1434" y="187"/>
              </a:cxn>
              <a:cxn ang="0">
                <a:pos x="1367" y="124"/>
              </a:cxn>
              <a:cxn ang="0">
                <a:pos x="1286" y="120"/>
              </a:cxn>
              <a:cxn ang="0">
                <a:pos x="1260" y="147"/>
              </a:cxn>
              <a:cxn ang="0">
                <a:pos x="1236" y="165"/>
              </a:cxn>
              <a:cxn ang="0">
                <a:pos x="1168" y="167"/>
              </a:cxn>
              <a:cxn ang="0">
                <a:pos x="1044" y="167"/>
              </a:cxn>
              <a:cxn ang="0">
                <a:pos x="986" y="140"/>
              </a:cxn>
              <a:cxn ang="0">
                <a:pos x="922" y="108"/>
              </a:cxn>
              <a:cxn ang="0">
                <a:pos x="852" y="100"/>
              </a:cxn>
              <a:cxn ang="0">
                <a:pos x="801" y="114"/>
              </a:cxn>
              <a:cxn ang="0">
                <a:pos x="740" y="116"/>
              </a:cxn>
              <a:cxn ang="0">
                <a:pos x="692" y="101"/>
              </a:cxn>
              <a:cxn ang="0">
                <a:pos x="662" y="68"/>
              </a:cxn>
              <a:cxn ang="0">
                <a:pos x="446" y="7"/>
              </a:cxn>
              <a:cxn ang="0">
                <a:pos x="446" y="44"/>
              </a:cxn>
              <a:cxn ang="0">
                <a:pos x="471" y="79"/>
              </a:cxn>
              <a:cxn ang="0">
                <a:pos x="490" y="106"/>
              </a:cxn>
              <a:cxn ang="0">
                <a:pos x="307" y="122"/>
              </a:cxn>
              <a:cxn ang="0">
                <a:pos x="294" y="87"/>
              </a:cxn>
              <a:cxn ang="0">
                <a:pos x="225" y="97"/>
              </a:cxn>
              <a:cxn ang="0">
                <a:pos x="185" y="88"/>
              </a:cxn>
              <a:cxn ang="0">
                <a:pos x="138" y="97"/>
              </a:cxn>
              <a:cxn ang="0">
                <a:pos x="68" y="143"/>
              </a:cxn>
              <a:cxn ang="0">
                <a:pos x="31" y="151"/>
              </a:cxn>
              <a:cxn ang="0">
                <a:pos x="4" y="169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660899" y="4292131"/>
            <a:ext cx="328612" cy="415925"/>
          </a:xfrm>
          <a:custGeom>
            <a:avLst/>
            <a:gdLst/>
            <a:ahLst/>
            <a:cxnLst>
              <a:cxn ang="0">
                <a:pos x="26" y="80"/>
              </a:cxn>
              <a:cxn ang="0">
                <a:pos x="49" y="88"/>
              </a:cxn>
              <a:cxn ang="0">
                <a:pos x="72" y="108"/>
              </a:cxn>
              <a:cxn ang="0">
                <a:pos x="88" y="134"/>
              </a:cxn>
              <a:cxn ang="0">
                <a:pos x="93" y="169"/>
              </a:cxn>
              <a:cxn ang="0">
                <a:pos x="84" y="186"/>
              </a:cxn>
              <a:cxn ang="0">
                <a:pos x="81" y="205"/>
              </a:cxn>
              <a:cxn ang="0">
                <a:pos x="88" y="240"/>
              </a:cxn>
              <a:cxn ang="0">
                <a:pos x="95" y="278"/>
              </a:cxn>
              <a:cxn ang="0">
                <a:pos x="83" y="308"/>
              </a:cxn>
              <a:cxn ang="0">
                <a:pos x="81" y="352"/>
              </a:cxn>
              <a:cxn ang="0">
                <a:pos x="93" y="390"/>
              </a:cxn>
              <a:cxn ang="0">
                <a:pos x="99" y="415"/>
              </a:cxn>
              <a:cxn ang="0">
                <a:pos x="78" y="457"/>
              </a:cxn>
              <a:cxn ang="0">
                <a:pos x="113" y="529"/>
              </a:cxn>
              <a:cxn ang="0">
                <a:pos x="138" y="577"/>
              </a:cxn>
              <a:cxn ang="0">
                <a:pos x="146" y="622"/>
              </a:cxn>
              <a:cxn ang="0">
                <a:pos x="152" y="659"/>
              </a:cxn>
              <a:cxn ang="0">
                <a:pos x="187" y="738"/>
              </a:cxn>
              <a:cxn ang="0">
                <a:pos x="214" y="782"/>
              </a:cxn>
              <a:cxn ang="0">
                <a:pos x="230" y="794"/>
              </a:cxn>
              <a:cxn ang="0">
                <a:pos x="251" y="790"/>
              </a:cxn>
              <a:cxn ang="0">
                <a:pos x="289" y="761"/>
              </a:cxn>
              <a:cxn ang="0">
                <a:pos x="324" y="746"/>
              </a:cxn>
              <a:cxn ang="0">
                <a:pos x="355" y="748"/>
              </a:cxn>
              <a:cxn ang="0">
                <a:pos x="388" y="770"/>
              </a:cxn>
              <a:cxn ang="0">
                <a:pos x="418" y="780"/>
              </a:cxn>
              <a:cxn ang="0">
                <a:pos x="437" y="758"/>
              </a:cxn>
              <a:cxn ang="0">
                <a:pos x="478" y="745"/>
              </a:cxn>
              <a:cxn ang="0">
                <a:pos x="525" y="622"/>
              </a:cxn>
              <a:cxn ang="0">
                <a:pos x="539" y="600"/>
              </a:cxn>
              <a:cxn ang="0">
                <a:pos x="575" y="584"/>
              </a:cxn>
              <a:cxn ang="0">
                <a:pos x="665" y="573"/>
              </a:cxn>
              <a:cxn ang="0">
                <a:pos x="687" y="579"/>
              </a:cxn>
              <a:cxn ang="0">
                <a:pos x="704" y="585"/>
              </a:cxn>
              <a:cxn ang="0">
                <a:pos x="744" y="573"/>
              </a:cxn>
              <a:cxn ang="0">
                <a:pos x="757" y="541"/>
              </a:cxn>
              <a:cxn ang="0">
                <a:pos x="752" y="499"/>
              </a:cxn>
              <a:cxn ang="0">
                <a:pos x="726" y="462"/>
              </a:cxn>
              <a:cxn ang="0">
                <a:pos x="710" y="435"/>
              </a:cxn>
              <a:cxn ang="0">
                <a:pos x="671" y="401"/>
              </a:cxn>
              <a:cxn ang="0">
                <a:pos x="633" y="399"/>
              </a:cxn>
              <a:cxn ang="0">
                <a:pos x="605" y="378"/>
              </a:cxn>
              <a:cxn ang="0">
                <a:pos x="590" y="349"/>
              </a:cxn>
              <a:cxn ang="0">
                <a:pos x="585" y="311"/>
              </a:cxn>
              <a:cxn ang="0">
                <a:pos x="583" y="269"/>
              </a:cxn>
              <a:cxn ang="0">
                <a:pos x="560" y="242"/>
              </a:cxn>
              <a:cxn ang="0">
                <a:pos x="503" y="205"/>
              </a:cxn>
              <a:cxn ang="0">
                <a:pos x="440" y="178"/>
              </a:cxn>
              <a:cxn ang="0">
                <a:pos x="392" y="167"/>
              </a:cxn>
              <a:cxn ang="0">
                <a:pos x="359" y="161"/>
              </a:cxn>
              <a:cxn ang="0">
                <a:pos x="330" y="145"/>
              </a:cxn>
              <a:cxn ang="0">
                <a:pos x="307" y="122"/>
              </a:cxn>
              <a:cxn ang="0">
                <a:pos x="292" y="92"/>
              </a:cxn>
              <a:cxn ang="0">
                <a:pos x="279" y="19"/>
              </a:cxn>
              <a:cxn ang="0">
                <a:pos x="261" y="3"/>
              </a:cxn>
              <a:cxn ang="0">
                <a:pos x="227" y="3"/>
              </a:cxn>
              <a:cxn ang="0">
                <a:pos x="173" y="30"/>
              </a:cxn>
              <a:cxn ang="0">
                <a:pos x="119" y="66"/>
              </a:cxn>
              <a:cxn ang="0">
                <a:pos x="0" y="80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875226" y="3722218"/>
            <a:ext cx="119063" cy="215900"/>
          </a:xfrm>
          <a:custGeom>
            <a:avLst/>
            <a:gdLst/>
            <a:ahLst/>
            <a:cxnLst>
              <a:cxn ang="0">
                <a:pos x="225" y="140"/>
              </a:cxn>
              <a:cxn ang="0">
                <a:pos x="213" y="133"/>
              </a:cxn>
              <a:cxn ang="0">
                <a:pos x="201" y="121"/>
              </a:cxn>
              <a:cxn ang="0">
                <a:pos x="190" y="105"/>
              </a:cxn>
              <a:cxn ang="0">
                <a:pos x="183" y="96"/>
              </a:cxn>
              <a:cxn ang="0">
                <a:pos x="176" y="93"/>
              </a:cxn>
              <a:cxn ang="0">
                <a:pos x="167" y="94"/>
              </a:cxn>
              <a:cxn ang="0">
                <a:pos x="161" y="101"/>
              </a:cxn>
              <a:cxn ang="0">
                <a:pos x="153" y="86"/>
              </a:cxn>
              <a:cxn ang="0">
                <a:pos x="142" y="54"/>
              </a:cxn>
              <a:cxn ang="0">
                <a:pos x="132" y="36"/>
              </a:cxn>
              <a:cxn ang="0">
                <a:pos x="123" y="25"/>
              </a:cxn>
              <a:cxn ang="0">
                <a:pos x="111" y="14"/>
              </a:cxn>
              <a:cxn ang="0">
                <a:pos x="96" y="5"/>
              </a:cxn>
              <a:cxn ang="0">
                <a:pos x="80" y="7"/>
              </a:cxn>
              <a:cxn ang="0">
                <a:pos x="69" y="19"/>
              </a:cxn>
              <a:cxn ang="0">
                <a:pos x="63" y="25"/>
              </a:cxn>
              <a:cxn ang="0">
                <a:pos x="57" y="32"/>
              </a:cxn>
              <a:cxn ang="0">
                <a:pos x="56" y="42"/>
              </a:cxn>
              <a:cxn ang="0">
                <a:pos x="58" y="59"/>
              </a:cxn>
              <a:cxn ang="0">
                <a:pos x="52" y="78"/>
              </a:cxn>
              <a:cxn ang="0">
                <a:pos x="33" y="90"/>
              </a:cxn>
              <a:cxn ang="0">
                <a:pos x="17" y="104"/>
              </a:cxn>
              <a:cxn ang="0">
                <a:pos x="4" y="118"/>
              </a:cxn>
              <a:cxn ang="0">
                <a:pos x="40" y="198"/>
              </a:cxn>
              <a:cxn ang="0">
                <a:pos x="73" y="205"/>
              </a:cxn>
              <a:cxn ang="0">
                <a:pos x="84" y="210"/>
              </a:cxn>
              <a:cxn ang="0">
                <a:pos x="93" y="218"/>
              </a:cxn>
              <a:cxn ang="0">
                <a:pos x="99" y="226"/>
              </a:cxn>
              <a:cxn ang="0">
                <a:pos x="103" y="237"/>
              </a:cxn>
              <a:cxn ang="0">
                <a:pos x="106" y="265"/>
              </a:cxn>
              <a:cxn ang="0">
                <a:pos x="103" y="279"/>
              </a:cxn>
              <a:cxn ang="0">
                <a:pos x="96" y="293"/>
              </a:cxn>
              <a:cxn ang="0">
                <a:pos x="89" y="307"/>
              </a:cxn>
              <a:cxn ang="0">
                <a:pos x="86" y="321"/>
              </a:cxn>
              <a:cxn ang="0">
                <a:pos x="91" y="343"/>
              </a:cxn>
              <a:cxn ang="0">
                <a:pos x="107" y="374"/>
              </a:cxn>
              <a:cxn ang="0">
                <a:pos x="117" y="389"/>
              </a:cxn>
              <a:cxn ang="0">
                <a:pos x="129" y="401"/>
              </a:cxn>
              <a:cxn ang="0">
                <a:pos x="141" y="411"/>
              </a:cxn>
              <a:cxn ang="0">
                <a:pos x="153" y="414"/>
              </a:cxn>
              <a:cxn ang="0">
                <a:pos x="215" y="398"/>
              </a:cxn>
              <a:cxn ang="0">
                <a:pos x="255" y="385"/>
              </a:cxn>
              <a:cxn ang="0">
                <a:pos x="267" y="377"/>
              </a:cxn>
              <a:cxn ang="0">
                <a:pos x="273" y="370"/>
              </a:cxn>
              <a:cxn ang="0">
                <a:pos x="269" y="352"/>
              </a:cxn>
              <a:cxn ang="0">
                <a:pos x="263" y="335"/>
              </a:cxn>
              <a:cxn ang="0">
                <a:pos x="242" y="309"/>
              </a:cxn>
              <a:cxn ang="0">
                <a:pos x="222" y="282"/>
              </a:cxn>
              <a:cxn ang="0">
                <a:pos x="215" y="266"/>
              </a:cxn>
              <a:cxn ang="0">
                <a:pos x="212" y="247"/>
              </a:cxn>
              <a:cxn ang="0">
                <a:pos x="215" y="215"/>
              </a:cxn>
              <a:cxn ang="0">
                <a:pos x="222" y="190"/>
              </a:cxn>
              <a:cxn ang="0">
                <a:pos x="230" y="167"/>
              </a:cxn>
              <a:cxn ang="0">
                <a:pos x="232" y="142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3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589461" y="3557127"/>
            <a:ext cx="323850" cy="401637"/>
            <a:chOff x="1486" y="2412"/>
            <a:chExt cx="244" cy="256"/>
          </a:xfrm>
        </p:grpSpPr>
        <p:sp>
          <p:nvSpPr>
            <p:cNvPr id="164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20"/>
                </a:cxn>
                <a:cxn ang="0">
                  <a:pos x="10" y="21"/>
                </a:cxn>
                <a:cxn ang="0">
                  <a:pos x="14" y="22"/>
                </a:cxn>
                <a:cxn ang="0">
                  <a:pos x="20" y="22"/>
                </a:cxn>
                <a:cxn ang="0">
                  <a:pos x="23" y="22"/>
                </a:cxn>
                <a:cxn ang="0">
                  <a:pos x="27" y="21"/>
                </a:cxn>
                <a:cxn ang="0">
                  <a:pos x="31" y="20"/>
                </a:cxn>
                <a:cxn ang="0">
                  <a:pos x="33" y="18"/>
                </a:cxn>
                <a:cxn ang="0">
                  <a:pos x="35" y="16"/>
                </a:cxn>
                <a:cxn ang="0">
                  <a:pos x="41" y="12"/>
                </a:cxn>
                <a:cxn ang="0">
                  <a:pos x="47" y="8"/>
                </a:cxn>
                <a:cxn ang="0">
                  <a:pos x="54" y="6"/>
                </a:cxn>
                <a:cxn ang="0">
                  <a:pos x="36" y="5"/>
                </a:cxn>
                <a:cxn ang="0">
                  <a:pos x="20" y="3"/>
                </a:cxn>
                <a:cxn ang="0">
                  <a:pos x="6" y="1"/>
                </a:cxn>
                <a:cxn ang="0">
                  <a:pos x="0" y="0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5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1" y="3"/>
                </a:cxn>
                <a:cxn ang="0">
                  <a:pos x="0" y="7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4" y="23"/>
                </a:cxn>
                <a:cxn ang="0">
                  <a:pos x="6" y="24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6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7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7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/>
              <a:ahLst/>
              <a:cxnLst>
                <a:cxn ang="0">
                  <a:pos x="9" y="208"/>
                </a:cxn>
                <a:cxn ang="0">
                  <a:pos x="50" y="266"/>
                </a:cxn>
                <a:cxn ang="0">
                  <a:pos x="121" y="294"/>
                </a:cxn>
                <a:cxn ang="0">
                  <a:pos x="166" y="316"/>
                </a:cxn>
                <a:cxn ang="0">
                  <a:pos x="198" y="346"/>
                </a:cxn>
                <a:cxn ang="0">
                  <a:pos x="296" y="379"/>
                </a:cxn>
                <a:cxn ang="0">
                  <a:pos x="286" y="420"/>
                </a:cxn>
                <a:cxn ang="0">
                  <a:pos x="311" y="513"/>
                </a:cxn>
                <a:cxn ang="0">
                  <a:pos x="303" y="535"/>
                </a:cxn>
                <a:cxn ang="0">
                  <a:pos x="302" y="566"/>
                </a:cxn>
                <a:cxn ang="0">
                  <a:pos x="328" y="617"/>
                </a:cxn>
                <a:cxn ang="0">
                  <a:pos x="371" y="659"/>
                </a:cxn>
                <a:cxn ang="0">
                  <a:pos x="415" y="671"/>
                </a:cxn>
                <a:cxn ang="0">
                  <a:pos x="465" y="653"/>
                </a:cxn>
                <a:cxn ang="0">
                  <a:pos x="507" y="619"/>
                </a:cxn>
                <a:cxn ang="0">
                  <a:pos x="524" y="586"/>
                </a:cxn>
                <a:cxn ang="0">
                  <a:pos x="477" y="469"/>
                </a:cxn>
                <a:cxn ang="0">
                  <a:pos x="577" y="500"/>
                </a:cxn>
                <a:cxn ang="0">
                  <a:pos x="600" y="477"/>
                </a:cxn>
                <a:cxn ang="0">
                  <a:pos x="652" y="445"/>
                </a:cxn>
                <a:cxn ang="0">
                  <a:pos x="669" y="441"/>
                </a:cxn>
                <a:cxn ang="0">
                  <a:pos x="685" y="435"/>
                </a:cxn>
                <a:cxn ang="0">
                  <a:pos x="666" y="327"/>
                </a:cxn>
                <a:cxn ang="0">
                  <a:pos x="709" y="294"/>
                </a:cxn>
                <a:cxn ang="0">
                  <a:pos x="714" y="253"/>
                </a:cxn>
                <a:cxn ang="0">
                  <a:pos x="726" y="235"/>
                </a:cxn>
                <a:cxn ang="0">
                  <a:pos x="728" y="213"/>
                </a:cxn>
                <a:cxn ang="0">
                  <a:pos x="700" y="196"/>
                </a:cxn>
                <a:cxn ang="0">
                  <a:pos x="686" y="168"/>
                </a:cxn>
                <a:cxn ang="0">
                  <a:pos x="670" y="145"/>
                </a:cxn>
                <a:cxn ang="0">
                  <a:pos x="639" y="152"/>
                </a:cxn>
                <a:cxn ang="0">
                  <a:pos x="630" y="134"/>
                </a:cxn>
                <a:cxn ang="0">
                  <a:pos x="602" y="115"/>
                </a:cxn>
                <a:cxn ang="0">
                  <a:pos x="584" y="97"/>
                </a:cxn>
                <a:cxn ang="0">
                  <a:pos x="536" y="75"/>
                </a:cxn>
                <a:cxn ang="0">
                  <a:pos x="490" y="87"/>
                </a:cxn>
                <a:cxn ang="0">
                  <a:pos x="472" y="101"/>
                </a:cxn>
                <a:cxn ang="0">
                  <a:pos x="434" y="116"/>
                </a:cxn>
                <a:cxn ang="0">
                  <a:pos x="418" y="104"/>
                </a:cxn>
                <a:cxn ang="0">
                  <a:pos x="393" y="102"/>
                </a:cxn>
                <a:cxn ang="0">
                  <a:pos x="359" y="83"/>
                </a:cxn>
                <a:cxn ang="0">
                  <a:pos x="317" y="85"/>
                </a:cxn>
                <a:cxn ang="0">
                  <a:pos x="291" y="92"/>
                </a:cxn>
                <a:cxn ang="0">
                  <a:pos x="252" y="93"/>
                </a:cxn>
                <a:cxn ang="0">
                  <a:pos x="233" y="52"/>
                </a:cxn>
                <a:cxn ang="0">
                  <a:pos x="179" y="22"/>
                </a:cxn>
                <a:cxn ang="0">
                  <a:pos x="148" y="10"/>
                </a:cxn>
                <a:cxn ang="0">
                  <a:pos x="136" y="46"/>
                </a:cxn>
                <a:cxn ang="0">
                  <a:pos x="119" y="69"/>
                </a:cxn>
                <a:cxn ang="0">
                  <a:pos x="119" y="137"/>
                </a:cxn>
                <a:cxn ang="0">
                  <a:pos x="104" y="194"/>
                </a:cxn>
                <a:cxn ang="0">
                  <a:pos x="87" y="190"/>
                </a:cxn>
                <a:cxn ang="0">
                  <a:pos x="70" y="184"/>
                </a:cxn>
                <a:cxn ang="0">
                  <a:pos x="57" y="169"/>
                </a:cxn>
                <a:cxn ang="0">
                  <a:pos x="52" y="119"/>
                </a:cxn>
                <a:cxn ang="0">
                  <a:pos x="73" y="61"/>
                </a:cxn>
                <a:cxn ang="0">
                  <a:pos x="97" y="15"/>
                </a:cxn>
                <a:cxn ang="0">
                  <a:pos x="52" y="30"/>
                </a:cxn>
                <a:cxn ang="0">
                  <a:pos x="16" y="70"/>
                </a:cxn>
                <a:cxn ang="0">
                  <a:pos x="1" y="120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8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610724" y="5096992"/>
            <a:ext cx="31750" cy="11112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22" y="13"/>
              </a:cxn>
              <a:cxn ang="0">
                <a:pos x="45" y="4"/>
              </a:cxn>
              <a:cxn ang="0">
                <a:pos x="56" y="1"/>
              </a:cxn>
              <a:cxn ang="0">
                <a:pos x="65" y="0"/>
              </a:cxn>
              <a:cxn ang="0">
                <a:pos x="69" y="0"/>
              </a:cxn>
              <a:cxn ang="0">
                <a:pos x="74" y="1"/>
              </a:cxn>
              <a:cxn ang="0">
                <a:pos x="77" y="2"/>
              </a:cxn>
              <a:cxn ang="0">
                <a:pos x="79" y="4"/>
              </a:cxn>
              <a:cxn ang="0">
                <a:pos x="77" y="8"/>
              </a:cxn>
              <a:cxn ang="0">
                <a:pos x="75" y="13"/>
              </a:cxn>
              <a:cxn ang="0">
                <a:pos x="72" y="16"/>
              </a:cxn>
              <a:cxn ang="0">
                <a:pos x="68" y="19"/>
              </a:cxn>
              <a:cxn ang="0">
                <a:pos x="64" y="21"/>
              </a:cxn>
              <a:cxn ang="0">
                <a:pos x="59" y="22"/>
              </a:cxn>
              <a:cxn ang="0">
                <a:pos x="53" y="23"/>
              </a:cxn>
              <a:cxn ang="0">
                <a:pos x="46" y="23"/>
              </a:cxn>
              <a:cxn ang="0">
                <a:pos x="37" y="23"/>
              </a:cxn>
              <a:cxn ang="0">
                <a:pos x="32" y="21"/>
              </a:cxn>
              <a:cxn ang="0">
                <a:pos x="26" y="20"/>
              </a:cxn>
              <a:cxn ang="0">
                <a:pos x="23" y="19"/>
              </a:cxn>
              <a:cxn ang="0">
                <a:pos x="19" y="18"/>
              </a:cxn>
              <a:cxn ang="0">
                <a:pos x="14" y="18"/>
              </a:cxn>
              <a:cxn ang="0">
                <a:pos x="9" y="20"/>
              </a:cxn>
              <a:cxn ang="0">
                <a:pos x="0" y="23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9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726611" y="5230341"/>
            <a:ext cx="1588" cy="47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0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817114" y="522875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1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817103" y="5228781"/>
            <a:ext cx="3175" cy="15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5" y="8"/>
              </a:cxn>
              <a:cxn ang="0">
                <a:pos x="5" y="13"/>
              </a:cxn>
              <a:cxn ang="0">
                <a:pos x="5" y="18"/>
              </a:cxn>
              <a:cxn ang="0">
                <a:pos x="4" y="23"/>
              </a:cxn>
              <a:cxn ang="0">
                <a:pos x="2" y="27"/>
              </a:cxn>
              <a:cxn ang="0">
                <a:pos x="0" y="30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2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115564" y="4698557"/>
            <a:ext cx="22225" cy="2857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" y="17"/>
              </a:cxn>
              <a:cxn ang="0">
                <a:pos x="5" y="22"/>
              </a:cxn>
              <a:cxn ang="0">
                <a:pos x="9" y="27"/>
              </a:cxn>
              <a:cxn ang="0">
                <a:pos x="15" y="33"/>
              </a:cxn>
              <a:cxn ang="0">
                <a:pos x="26" y="44"/>
              </a:cxn>
              <a:cxn ang="0">
                <a:pos x="33" y="55"/>
              </a:cxn>
              <a:cxn ang="0">
                <a:pos x="53" y="55"/>
              </a:cxn>
              <a:cxn ang="0">
                <a:pos x="40" y="41"/>
              </a:cxn>
              <a:cxn ang="0">
                <a:pos x="28" y="29"/>
              </a:cxn>
              <a:cxn ang="0">
                <a:pos x="23" y="23"/>
              </a:cxn>
              <a:cxn ang="0">
                <a:pos x="19" y="16"/>
              </a:cxn>
              <a:cxn ang="0">
                <a:pos x="16" y="8"/>
              </a:cxn>
              <a:cxn ang="0">
                <a:pos x="14" y="0"/>
              </a:cxn>
              <a:cxn ang="0">
                <a:pos x="7" y="6"/>
              </a:cxn>
              <a:cxn ang="0">
                <a:pos x="0" y="12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121899" y="4625504"/>
            <a:ext cx="26987" cy="3968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9" y="43"/>
              </a:cxn>
              <a:cxn ang="0">
                <a:pos x="20" y="55"/>
              </a:cxn>
              <a:cxn ang="0">
                <a:pos x="26" y="61"/>
              </a:cxn>
              <a:cxn ang="0">
                <a:pos x="32" y="67"/>
              </a:cxn>
              <a:cxn ang="0">
                <a:pos x="39" y="71"/>
              </a:cxn>
              <a:cxn ang="0">
                <a:pos x="46" y="75"/>
              </a:cxn>
              <a:cxn ang="0">
                <a:pos x="51" y="61"/>
              </a:cxn>
              <a:cxn ang="0">
                <a:pos x="58" y="48"/>
              </a:cxn>
              <a:cxn ang="0">
                <a:pos x="61" y="42"/>
              </a:cxn>
              <a:cxn ang="0">
                <a:pos x="63" y="36"/>
              </a:cxn>
              <a:cxn ang="0">
                <a:pos x="65" y="31"/>
              </a:cxn>
              <a:cxn ang="0">
                <a:pos x="65" y="26"/>
              </a:cxn>
              <a:cxn ang="0">
                <a:pos x="65" y="21"/>
              </a:cxn>
              <a:cxn ang="0">
                <a:pos x="63" y="18"/>
              </a:cxn>
              <a:cxn ang="0">
                <a:pos x="61" y="13"/>
              </a:cxn>
              <a:cxn ang="0">
                <a:pos x="58" y="10"/>
              </a:cxn>
              <a:cxn ang="0">
                <a:pos x="51" y="5"/>
              </a:cxn>
              <a:cxn ang="0">
                <a:pos x="46" y="0"/>
              </a:cxn>
              <a:cxn ang="0">
                <a:pos x="34" y="0"/>
              </a:cxn>
              <a:cxn ang="0">
                <a:pos x="26" y="0"/>
              </a:cxn>
              <a:cxn ang="0">
                <a:pos x="25" y="2"/>
              </a:cxn>
              <a:cxn ang="0">
                <a:pos x="24" y="7"/>
              </a:cxn>
              <a:cxn ang="0">
                <a:pos x="23" y="9"/>
              </a:cxn>
              <a:cxn ang="0">
                <a:pos x="23" y="11"/>
              </a:cxn>
              <a:cxn ang="0">
                <a:pos x="24" y="12"/>
              </a:cxn>
              <a:cxn ang="0">
                <a:pos x="26" y="1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4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8098091" y="4601692"/>
            <a:ext cx="17463" cy="30163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3" y="52"/>
              </a:cxn>
              <a:cxn ang="0">
                <a:pos x="7" y="43"/>
              </a:cxn>
              <a:cxn ang="0">
                <a:pos x="12" y="33"/>
              </a:cxn>
              <a:cxn ang="0">
                <a:pos x="17" y="25"/>
              </a:cxn>
              <a:cxn ang="0">
                <a:pos x="23" y="17"/>
              </a:cxn>
              <a:cxn ang="0">
                <a:pos x="29" y="9"/>
              </a:cxn>
              <a:cxn ang="0">
                <a:pos x="35" y="3"/>
              </a:cxn>
              <a:cxn ang="0">
                <a:pos x="40" y="0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5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8017124" y="4479476"/>
            <a:ext cx="68262" cy="138113"/>
          </a:xfrm>
          <a:custGeom>
            <a:avLst/>
            <a:gdLst/>
            <a:ahLst/>
            <a:cxnLst>
              <a:cxn ang="0">
                <a:pos x="159" y="259"/>
              </a:cxn>
              <a:cxn ang="0">
                <a:pos x="159" y="251"/>
              </a:cxn>
              <a:cxn ang="0">
                <a:pos x="159" y="244"/>
              </a:cxn>
              <a:cxn ang="0">
                <a:pos x="159" y="236"/>
              </a:cxn>
              <a:cxn ang="0">
                <a:pos x="159" y="228"/>
              </a:cxn>
              <a:cxn ang="0">
                <a:pos x="159" y="224"/>
              </a:cxn>
              <a:cxn ang="0">
                <a:pos x="158" y="219"/>
              </a:cxn>
              <a:cxn ang="0">
                <a:pos x="156" y="215"/>
              </a:cxn>
              <a:cxn ang="0">
                <a:pos x="153" y="210"/>
              </a:cxn>
              <a:cxn ang="0">
                <a:pos x="145" y="202"/>
              </a:cxn>
              <a:cxn ang="0">
                <a:pos x="135" y="195"/>
              </a:cxn>
              <a:cxn ang="0">
                <a:pos x="124" y="189"/>
              </a:cxn>
              <a:cxn ang="0">
                <a:pos x="112" y="184"/>
              </a:cxn>
              <a:cxn ang="0">
                <a:pos x="99" y="180"/>
              </a:cxn>
              <a:cxn ang="0">
                <a:pos x="87" y="179"/>
              </a:cxn>
              <a:cxn ang="0">
                <a:pos x="85" y="178"/>
              </a:cxn>
              <a:cxn ang="0">
                <a:pos x="82" y="177"/>
              </a:cxn>
              <a:cxn ang="0">
                <a:pos x="81" y="175"/>
              </a:cxn>
              <a:cxn ang="0">
                <a:pos x="80" y="173"/>
              </a:cxn>
              <a:cxn ang="0">
                <a:pos x="80" y="167"/>
              </a:cxn>
              <a:cxn ang="0">
                <a:pos x="81" y="161"/>
              </a:cxn>
              <a:cxn ang="0">
                <a:pos x="85" y="148"/>
              </a:cxn>
              <a:cxn ang="0">
                <a:pos x="87" y="142"/>
              </a:cxn>
              <a:cxn ang="0">
                <a:pos x="73" y="141"/>
              </a:cxn>
              <a:cxn ang="0">
                <a:pos x="59" y="139"/>
              </a:cxn>
              <a:cxn ang="0">
                <a:pos x="48" y="135"/>
              </a:cxn>
              <a:cxn ang="0">
                <a:pos x="40" y="129"/>
              </a:cxn>
              <a:cxn ang="0">
                <a:pos x="31" y="121"/>
              </a:cxn>
              <a:cxn ang="0">
                <a:pos x="24" y="113"/>
              </a:cxn>
              <a:cxn ang="0">
                <a:pos x="18" y="104"/>
              </a:cxn>
              <a:cxn ang="0">
                <a:pos x="13" y="94"/>
              </a:cxn>
              <a:cxn ang="0">
                <a:pos x="9" y="84"/>
              </a:cxn>
              <a:cxn ang="0">
                <a:pos x="7" y="73"/>
              </a:cxn>
              <a:cxn ang="0">
                <a:pos x="5" y="60"/>
              </a:cxn>
              <a:cxn ang="0">
                <a:pos x="2" y="48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6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8010779" y="4446133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8010779" y="4430245"/>
            <a:ext cx="6350" cy="1587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1" y="19"/>
              </a:cxn>
              <a:cxn ang="0">
                <a:pos x="4" y="13"/>
              </a:cxn>
              <a:cxn ang="0">
                <a:pos x="8" y="6"/>
              </a:cxn>
              <a:cxn ang="0">
                <a:pos x="13" y="0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8017124" y="441754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9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971091" y="4350876"/>
            <a:ext cx="46038" cy="66675"/>
          </a:xfrm>
          <a:custGeom>
            <a:avLst/>
            <a:gdLst/>
            <a:ahLst/>
            <a:cxnLst>
              <a:cxn ang="0">
                <a:pos x="100" y="123"/>
              </a:cxn>
              <a:cxn ang="0">
                <a:pos x="90" y="122"/>
              </a:cxn>
              <a:cxn ang="0">
                <a:pos x="76" y="119"/>
              </a:cxn>
              <a:cxn ang="0">
                <a:pos x="60" y="114"/>
              </a:cxn>
              <a:cxn ang="0">
                <a:pos x="43" y="107"/>
              </a:cxn>
              <a:cxn ang="0">
                <a:pos x="34" y="103"/>
              </a:cxn>
              <a:cxn ang="0">
                <a:pos x="27" y="99"/>
              </a:cxn>
              <a:cxn ang="0">
                <a:pos x="20" y="94"/>
              </a:cxn>
              <a:cxn ang="0">
                <a:pos x="13" y="89"/>
              </a:cxn>
              <a:cxn ang="0">
                <a:pos x="8" y="84"/>
              </a:cxn>
              <a:cxn ang="0">
                <a:pos x="4" y="79"/>
              </a:cxn>
              <a:cxn ang="0">
                <a:pos x="1" y="73"/>
              </a:cxn>
              <a:cxn ang="0">
                <a:pos x="0" y="68"/>
              </a:cxn>
              <a:cxn ang="0">
                <a:pos x="2" y="55"/>
              </a:cxn>
              <a:cxn ang="0">
                <a:pos x="7" y="36"/>
              </a:cxn>
              <a:cxn ang="0">
                <a:pos x="11" y="17"/>
              </a:cxn>
              <a:cxn ang="0">
                <a:pos x="13" y="0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0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985389" y="4293717"/>
            <a:ext cx="1587" cy="50800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34"/>
              </a:cxn>
              <a:cxn ang="0">
                <a:pos x="1" y="59"/>
              </a:cxn>
              <a:cxn ang="0">
                <a:pos x="0" y="69"/>
              </a:cxn>
              <a:cxn ang="0">
                <a:pos x="0" y="78"/>
              </a:cxn>
              <a:cxn ang="0">
                <a:pos x="2" y="87"/>
              </a:cxn>
              <a:cxn ang="0">
                <a:pos x="5" y="99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1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991730" y="4287367"/>
            <a:ext cx="7937" cy="36512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6"/>
              </a:cxn>
              <a:cxn ang="0">
                <a:pos x="4" y="33"/>
              </a:cxn>
              <a:cxn ang="0">
                <a:pos x="2" y="52"/>
              </a:cxn>
              <a:cxn ang="0">
                <a:pos x="0" y="68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8007614" y="4268322"/>
            <a:ext cx="1587" cy="222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"/>
              </a:cxn>
              <a:cxn ang="0">
                <a:pos x="0" y="26"/>
              </a:cxn>
              <a:cxn ang="0">
                <a:pos x="0" y="37"/>
              </a:cxn>
              <a:cxn ang="0">
                <a:pos x="0" y="43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3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8007614" y="4287381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991739" y="4271497"/>
            <a:ext cx="1587" cy="1587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5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712339" y="5260532"/>
            <a:ext cx="96837" cy="87313"/>
          </a:xfrm>
          <a:custGeom>
            <a:avLst/>
            <a:gdLst/>
            <a:ahLst/>
            <a:cxnLst>
              <a:cxn ang="0">
                <a:pos x="19" y="158"/>
              </a:cxn>
              <a:cxn ang="0">
                <a:pos x="7" y="142"/>
              </a:cxn>
              <a:cxn ang="0">
                <a:pos x="0" y="130"/>
              </a:cxn>
              <a:cxn ang="0">
                <a:pos x="1" y="108"/>
              </a:cxn>
              <a:cxn ang="0">
                <a:pos x="11" y="68"/>
              </a:cxn>
              <a:cxn ang="0">
                <a:pos x="24" y="39"/>
              </a:cxn>
              <a:cxn ang="0">
                <a:pos x="34" y="21"/>
              </a:cxn>
              <a:cxn ang="0">
                <a:pos x="44" y="9"/>
              </a:cxn>
              <a:cxn ang="0">
                <a:pos x="54" y="1"/>
              </a:cxn>
              <a:cxn ang="0">
                <a:pos x="65" y="1"/>
              </a:cxn>
              <a:cxn ang="0">
                <a:pos x="76" y="3"/>
              </a:cxn>
              <a:cxn ang="0">
                <a:pos x="88" y="8"/>
              </a:cxn>
              <a:cxn ang="0">
                <a:pos x="100" y="17"/>
              </a:cxn>
              <a:cxn ang="0">
                <a:pos x="112" y="24"/>
              </a:cxn>
              <a:cxn ang="0">
                <a:pos x="128" y="24"/>
              </a:cxn>
              <a:cxn ang="0">
                <a:pos x="145" y="19"/>
              </a:cxn>
              <a:cxn ang="0">
                <a:pos x="165" y="7"/>
              </a:cxn>
              <a:cxn ang="0">
                <a:pos x="225" y="0"/>
              </a:cxn>
              <a:cxn ang="0">
                <a:pos x="215" y="22"/>
              </a:cxn>
              <a:cxn ang="0">
                <a:pos x="201" y="41"/>
              </a:cxn>
              <a:cxn ang="0">
                <a:pos x="168" y="72"/>
              </a:cxn>
              <a:cxn ang="0">
                <a:pos x="138" y="100"/>
              </a:cxn>
              <a:cxn ang="0">
                <a:pos x="129" y="114"/>
              </a:cxn>
              <a:cxn ang="0">
                <a:pos x="126" y="130"/>
              </a:cxn>
              <a:cxn ang="0">
                <a:pos x="123" y="126"/>
              </a:cxn>
              <a:cxn ang="0">
                <a:pos x="120" y="117"/>
              </a:cxn>
              <a:cxn ang="0">
                <a:pos x="106" y="121"/>
              </a:cxn>
              <a:cxn ang="0">
                <a:pos x="97" y="128"/>
              </a:cxn>
              <a:cxn ang="0">
                <a:pos x="80" y="145"/>
              </a:cxn>
              <a:cxn ang="0">
                <a:pos x="71" y="153"/>
              </a:cxn>
              <a:cxn ang="0">
                <a:pos x="60" y="160"/>
              </a:cxn>
              <a:cxn ang="0">
                <a:pos x="46" y="165"/>
              </a:cxn>
              <a:cxn ang="0">
                <a:pos x="26" y="167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850439" y="4479457"/>
            <a:ext cx="3175" cy="174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" y="22"/>
              </a:cxn>
              <a:cxn ang="0">
                <a:pos x="6" y="13"/>
              </a:cxn>
              <a:cxn ang="0">
                <a:pos x="7" y="6"/>
              </a:cxn>
              <a:cxn ang="0">
                <a:pos x="7" y="0"/>
              </a:cxn>
              <a:cxn ang="0">
                <a:pos x="6" y="6"/>
              </a:cxn>
              <a:cxn ang="0">
                <a:pos x="4" y="13"/>
              </a:cxn>
              <a:cxn ang="0">
                <a:pos x="1" y="22"/>
              </a:cxn>
              <a:cxn ang="0">
                <a:pos x="0" y="31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7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783764" y="4401681"/>
            <a:ext cx="15875" cy="15875"/>
          </a:xfrm>
          <a:custGeom>
            <a:avLst/>
            <a:gdLst/>
            <a:ahLst/>
            <a:cxnLst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22" y="2"/>
              </a:cxn>
              <a:cxn ang="0">
                <a:pos x="16" y="5"/>
              </a:cxn>
              <a:cxn ang="0">
                <a:pos x="11" y="8"/>
              </a:cxn>
              <a:cxn ang="0">
                <a:pos x="6" y="12"/>
              </a:cxn>
              <a:cxn ang="0">
                <a:pos x="3" y="16"/>
              </a:cxn>
              <a:cxn ang="0">
                <a:pos x="1" y="21"/>
              </a:cxn>
              <a:cxn ang="0">
                <a:pos x="0" y="25"/>
              </a:cxn>
              <a:cxn ang="0">
                <a:pos x="1" y="27"/>
              </a:cxn>
              <a:cxn ang="0">
                <a:pos x="3" y="29"/>
              </a:cxn>
              <a:cxn ang="0">
                <a:pos x="6" y="30"/>
              </a:cxn>
              <a:cxn ang="0">
                <a:pos x="11" y="30"/>
              </a:cxn>
              <a:cxn ang="0">
                <a:pos x="22" y="31"/>
              </a:cxn>
              <a:cxn ang="0">
                <a:pos x="33" y="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8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799643" y="4314363"/>
            <a:ext cx="3175" cy="95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" y="18"/>
              </a:cxn>
              <a:cxn ang="0">
                <a:pos x="5" y="17"/>
              </a:cxn>
              <a:cxn ang="0">
                <a:pos x="7" y="15"/>
              </a:cxn>
              <a:cxn ang="0">
                <a:pos x="8" y="12"/>
              </a:cxn>
              <a:cxn ang="0">
                <a:pos x="12" y="6"/>
              </a:cxn>
              <a:cxn ang="0">
                <a:pos x="13" y="0"/>
              </a:cxn>
              <a:cxn ang="0">
                <a:pos x="0" y="19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9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639302" y="4317537"/>
            <a:ext cx="36512" cy="22225"/>
          </a:xfrm>
          <a:custGeom>
            <a:avLst/>
            <a:gdLst/>
            <a:ahLst/>
            <a:cxnLst>
              <a:cxn ang="0">
                <a:pos x="54" y="42"/>
              </a:cxn>
              <a:cxn ang="0">
                <a:pos x="59" y="42"/>
              </a:cxn>
              <a:cxn ang="0">
                <a:pos x="64" y="41"/>
              </a:cxn>
              <a:cxn ang="0">
                <a:pos x="68" y="40"/>
              </a:cxn>
              <a:cxn ang="0">
                <a:pos x="71" y="38"/>
              </a:cxn>
              <a:cxn ang="0">
                <a:pos x="75" y="34"/>
              </a:cxn>
              <a:cxn ang="0">
                <a:pos x="78" y="28"/>
              </a:cxn>
              <a:cxn ang="0">
                <a:pos x="79" y="22"/>
              </a:cxn>
              <a:cxn ang="0">
                <a:pos x="80" y="16"/>
              </a:cxn>
              <a:cxn ang="0">
                <a:pos x="82" y="11"/>
              </a:cxn>
              <a:cxn ang="0">
                <a:pos x="87" y="6"/>
              </a:cxn>
              <a:cxn ang="0">
                <a:pos x="77" y="2"/>
              </a:cxn>
              <a:cxn ang="0">
                <a:pos x="67" y="0"/>
              </a:cxn>
              <a:cxn ang="0">
                <a:pos x="57" y="0"/>
              </a:cxn>
              <a:cxn ang="0">
                <a:pos x="47" y="0"/>
              </a:cxn>
              <a:cxn ang="0">
                <a:pos x="40" y="0"/>
              </a:cxn>
              <a:cxn ang="0">
                <a:pos x="32" y="2"/>
              </a:cxn>
              <a:cxn ang="0">
                <a:pos x="25" y="4"/>
              </a:cxn>
              <a:cxn ang="0">
                <a:pos x="19" y="6"/>
              </a:cxn>
              <a:cxn ang="0">
                <a:pos x="8" y="12"/>
              </a:cxn>
              <a:cxn ang="0">
                <a:pos x="0" y="18"/>
              </a:cxn>
              <a:cxn ang="0">
                <a:pos x="11" y="24"/>
              </a:cxn>
              <a:cxn ang="0">
                <a:pos x="27" y="32"/>
              </a:cxn>
              <a:cxn ang="0">
                <a:pos x="43" y="39"/>
              </a:cxn>
              <a:cxn ang="0">
                <a:pos x="54" y="42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0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883789" y="4781079"/>
            <a:ext cx="1587" cy="142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7" y="18"/>
              </a:cxn>
              <a:cxn ang="0">
                <a:pos x="0" y="31"/>
              </a:cxn>
              <a:cxn ang="0">
                <a:pos x="0" y="0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1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120193" y="4287367"/>
            <a:ext cx="1019175" cy="908051"/>
          </a:xfrm>
          <a:custGeom>
            <a:avLst/>
            <a:gdLst/>
            <a:ahLst/>
            <a:cxnLst>
              <a:cxn ang="0">
                <a:pos x="214" y="707"/>
              </a:cxn>
              <a:cxn ang="0">
                <a:pos x="325" y="649"/>
              </a:cxn>
              <a:cxn ang="0">
                <a:pos x="435" y="606"/>
              </a:cxn>
              <a:cxn ang="0">
                <a:pos x="605" y="570"/>
              </a:cxn>
              <a:cxn ang="0">
                <a:pos x="677" y="437"/>
              </a:cxn>
              <a:cxn ang="0">
                <a:pos x="758" y="439"/>
              </a:cxn>
              <a:cxn ang="0">
                <a:pos x="784" y="363"/>
              </a:cxn>
              <a:cxn ang="0">
                <a:pos x="866" y="316"/>
              </a:cxn>
              <a:cxn ang="0">
                <a:pos x="939" y="246"/>
              </a:cxn>
              <a:cxn ang="0">
                <a:pos x="1027" y="223"/>
              </a:cxn>
              <a:cxn ang="0">
                <a:pos x="1078" y="284"/>
              </a:cxn>
              <a:cxn ang="0">
                <a:pos x="1135" y="270"/>
              </a:cxn>
              <a:cxn ang="0">
                <a:pos x="1176" y="172"/>
              </a:cxn>
              <a:cxn ang="0">
                <a:pos x="1320" y="117"/>
              </a:cxn>
              <a:cxn ang="0">
                <a:pos x="1336" y="41"/>
              </a:cxn>
              <a:cxn ang="0">
                <a:pos x="1432" y="107"/>
              </a:cxn>
              <a:cxn ang="0">
                <a:pos x="1544" y="117"/>
              </a:cxn>
              <a:cxn ang="0">
                <a:pos x="1465" y="262"/>
              </a:cxn>
              <a:cxn ang="0">
                <a:pos x="1509" y="333"/>
              </a:cxn>
              <a:cxn ang="0">
                <a:pos x="1582" y="354"/>
              </a:cxn>
              <a:cxn ang="0">
                <a:pos x="1668" y="423"/>
              </a:cxn>
              <a:cxn ang="0">
                <a:pos x="1764" y="413"/>
              </a:cxn>
              <a:cxn ang="0">
                <a:pos x="1830" y="205"/>
              </a:cxn>
              <a:cxn ang="0">
                <a:pos x="1904" y="10"/>
              </a:cxn>
              <a:cxn ang="0">
                <a:pos x="1933" y="80"/>
              </a:cxn>
              <a:cxn ang="0">
                <a:pos x="1944" y="176"/>
              </a:cxn>
              <a:cxn ang="0">
                <a:pos x="1986" y="240"/>
              </a:cxn>
              <a:cxn ang="0">
                <a:pos x="2040" y="429"/>
              </a:cxn>
              <a:cxn ang="0">
                <a:pos x="2089" y="540"/>
              </a:cxn>
              <a:cxn ang="0">
                <a:pos x="2163" y="686"/>
              </a:cxn>
              <a:cxn ang="0">
                <a:pos x="2219" y="769"/>
              </a:cxn>
              <a:cxn ang="0">
                <a:pos x="2332" y="892"/>
              </a:cxn>
              <a:cxn ang="0">
                <a:pos x="2276" y="1105"/>
              </a:cxn>
              <a:cxn ang="0">
                <a:pos x="2087" y="1362"/>
              </a:cxn>
              <a:cxn ang="0">
                <a:pos x="2005" y="1432"/>
              </a:cxn>
              <a:cxn ang="0">
                <a:pos x="1838" y="1591"/>
              </a:cxn>
              <a:cxn ang="0">
                <a:pos x="1749" y="1676"/>
              </a:cxn>
              <a:cxn ang="0">
                <a:pos x="1589" y="1726"/>
              </a:cxn>
              <a:cxn ang="0">
                <a:pos x="1517" y="1693"/>
              </a:cxn>
              <a:cxn ang="0">
                <a:pos x="1410" y="1729"/>
              </a:cxn>
              <a:cxn ang="0">
                <a:pos x="1297" y="1693"/>
              </a:cxn>
              <a:cxn ang="0">
                <a:pos x="1279" y="1614"/>
              </a:cxn>
              <a:cxn ang="0">
                <a:pos x="1263" y="1516"/>
              </a:cxn>
              <a:cxn ang="0">
                <a:pos x="1225" y="1500"/>
              </a:cxn>
              <a:cxn ang="0">
                <a:pos x="1280" y="1382"/>
              </a:cxn>
              <a:cxn ang="0">
                <a:pos x="1088" y="1362"/>
              </a:cxn>
              <a:cxn ang="0">
                <a:pos x="961" y="1282"/>
              </a:cxn>
              <a:cxn ang="0">
                <a:pos x="754" y="1323"/>
              </a:cxn>
              <a:cxn ang="0">
                <a:pos x="507" y="1419"/>
              </a:cxn>
              <a:cxn ang="0">
                <a:pos x="214" y="1473"/>
              </a:cxn>
              <a:cxn ang="0">
                <a:pos x="55" y="1490"/>
              </a:cxn>
              <a:cxn ang="0">
                <a:pos x="2" y="1423"/>
              </a:cxn>
              <a:cxn ang="0">
                <a:pos x="97" y="1344"/>
              </a:cxn>
              <a:cxn ang="0">
                <a:pos x="75" y="1241"/>
              </a:cxn>
              <a:cxn ang="0">
                <a:pos x="113" y="1170"/>
              </a:cxn>
              <a:cxn ang="0">
                <a:pos x="58" y="943"/>
              </a:cxn>
              <a:cxn ang="0">
                <a:pos x="113" y="964"/>
              </a:cxn>
              <a:cxn ang="0">
                <a:pos x="106" y="862"/>
              </a:cxn>
              <a:cxn ang="0">
                <a:pos x="147" y="765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606800" y="2953894"/>
            <a:ext cx="668337" cy="581025"/>
          </a:xfrm>
          <a:custGeom>
            <a:avLst/>
            <a:gdLst/>
            <a:ahLst/>
            <a:cxnLst>
              <a:cxn ang="0">
                <a:pos x="1243" y="925"/>
              </a:cxn>
              <a:cxn ang="0">
                <a:pos x="1299" y="982"/>
              </a:cxn>
              <a:cxn ang="0">
                <a:pos x="1220" y="999"/>
              </a:cxn>
              <a:cxn ang="0">
                <a:pos x="1177" y="1095"/>
              </a:cxn>
              <a:cxn ang="0">
                <a:pos x="1065" y="1006"/>
              </a:cxn>
              <a:cxn ang="0">
                <a:pos x="994" y="1012"/>
              </a:cxn>
              <a:cxn ang="0">
                <a:pos x="913" y="1039"/>
              </a:cxn>
              <a:cxn ang="0">
                <a:pos x="786" y="971"/>
              </a:cxn>
              <a:cxn ang="0">
                <a:pos x="648" y="917"/>
              </a:cxn>
              <a:cxn ang="0">
                <a:pos x="588" y="883"/>
              </a:cxn>
              <a:cxn ang="0">
                <a:pos x="537" y="835"/>
              </a:cxn>
              <a:cxn ang="0">
                <a:pos x="485" y="826"/>
              </a:cxn>
              <a:cxn ang="0">
                <a:pos x="439" y="757"/>
              </a:cxn>
              <a:cxn ang="0">
                <a:pos x="467" y="705"/>
              </a:cxn>
              <a:cxn ang="0">
                <a:pos x="450" y="601"/>
              </a:cxn>
              <a:cxn ang="0">
                <a:pos x="352" y="468"/>
              </a:cxn>
              <a:cxn ang="0">
                <a:pos x="304" y="426"/>
              </a:cxn>
              <a:cxn ang="0">
                <a:pos x="293" y="369"/>
              </a:cxn>
              <a:cxn ang="0">
                <a:pos x="217" y="248"/>
              </a:cxn>
              <a:cxn ang="0">
                <a:pos x="167" y="74"/>
              </a:cxn>
              <a:cxn ang="0">
                <a:pos x="84" y="104"/>
              </a:cxn>
              <a:cxn ang="0">
                <a:pos x="113" y="222"/>
              </a:cxn>
              <a:cxn ang="0">
                <a:pos x="150" y="326"/>
              </a:cxn>
              <a:cxn ang="0">
                <a:pos x="196" y="402"/>
              </a:cxn>
              <a:cxn ang="0">
                <a:pos x="200" y="465"/>
              </a:cxn>
              <a:cxn ang="0">
                <a:pos x="213" y="524"/>
              </a:cxn>
              <a:cxn ang="0">
                <a:pos x="259" y="571"/>
              </a:cxn>
              <a:cxn ang="0">
                <a:pos x="214" y="596"/>
              </a:cxn>
              <a:cxn ang="0">
                <a:pos x="193" y="542"/>
              </a:cxn>
              <a:cxn ang="0">
                <a:pos x="120" y="474"/>
              </a:cxn>
              <a:cxn ang="0">
                <a:pos x="146" y="420"/>
              </a:cxn>
              <a:cxn ang="0">
                <a:pos x="89" y="366"/>
              </a:cxn>
              <a:cxn ang="0">
                <a:pos x="27" y="307"/>
              </a:cxn>
              <a:cxn ang="0">
                <a:pos x="65" y="289"/>
              </a:cxn>
              <a:cxn ang="0">
                <a:pos x="64" y="225"/>
              </a:cxn>
              <a:cxn ang="0">
                <a:pos x="6" y="117"/>
              </a:cxn>
              <a:cxn ang="0">
                <a:pos x="38" y="5"/>
              </a:cxn>
              <a:cxn ang="0">
                <a:pos x="211" y="18"/>
              </a:cxn>
              <a:cxn ang="0">
                <a:pos x="361" y="76"/>
              </a:cxn>
              <a:cxn ang="0">
                <a:pos x="498" y="55"/>
              </a:cxn>
              <a:cxn ang="0">
                <a:pos x="593" y="54"/>
              </a:cxn>
              <a:cxn ang="0">
                <a:pos x="633" y="110"/>
              </a:cxn>
              <a:cxn ang="0">
                <a:pos x="700" y="215"/>
              </a:cxn>
              <a:cxn ang="0">
                <a:pos x="750" y="192"/>
              </a:cxn>
              <a:cxn ang="0">
                <a:pos x="822" y="176"/>
              </a:cxn>
              <a:cxn ang="0">
                <a:pos x="879" y="244"/>
              </a:cxn>
              <a:cxn ang="0">
                <a:pos x="905" y="362"/>
              </a:cxn>
              <a:cxn ang="0">
                <a:pos x="964" y="405"/>
              </a:cxn>
              <a:cxn ang="0">
                <a:pos x="977" y="456"/>
              </a:cxn>
              <a:cxn ang="0">
                <a:pos x="931" y="492"/>
              </a:cxn>
              <a:cxn ang="0">
                <a:pos x="917" y="634"/>
              </a:cxn>
              <a:cxn ang="0">
                <a:pos x="956" y="791"/>
              </a:cxn>
              <a:cxn ang="0">
                <a:pos x="1054" y="877"/>
              </a:cxn>
              <a:cxn ang="0">
                <a:pos x="1166" y="849"/>
              </a:cxn>
              <a:cxn ang="0">
                <a:pos x="1249" y="850"/>
              </a:cxn>
              <a:cxn ang="0">
                <a:pos x="1296" y="742"/>
              </a:cxn>
              <a:cxn ang="0">
                <a:pos x="1336" y="693"/>
              </a:cxn>
              <a:cxn ang="0">
                <a:pos x="1506" y="678"/>
              </a:cxn>
              <a:cxn ang="0">
                <a:pos x="1503" y="729"/>
              </a:cxn>
              <a:cxn ang="0">
                <a:pos x="1468" y="821"/>
              </a:cxn>
              <a:cxn ang="0">
                <a:pos x="1369" y="888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881565" y="4593781"/>
            <a:ext cx="211138" cy="265113"/>
          </a:xfrm>
          <a:custGeom>
            <a:avLst/>
            <a:gdLst/>
            <a:ahLst/>
            <a:cxnLst>
              <a:cxn ang="0">
                <a:pos x="14" y="176"/>
              </a:cxn>
              <a:cxn ang="0">
                <a:pos x="31" y="198"/>
              </a:cxn>
              <a:cxn ang="0">
                <a:pos x="51" y="232"/>
              </a:cxn>
              <a:cxn ang="0">
                <a:pos x="82" y="266"/>
              </a:cxn>
              <a:cxn ang="0">
                <a:pos x="126" y="293"/>
              </a:cxn>
              <a:cxn ang="0">
                <a:pos x="170" y="310"/>
              </a:cxn>
              <a:cxn ang="0">
                <a:pos x="246" y="328"/>
              </a:cxn>
              <a:cxn ang="0">
                <a:pos x="295" y="344"/>
              </a:cxn>
              <a:cxn ang="0">
                <a:pos x="299" y="381"/>
              </a:cxn>
              <a:cxn ang="0">
                <a:pos x="277" y="418"/>
              </a:cxn>
              <a:cxn ang="0">
                <a:pos x="267" y="443"/>
              </a:cxn>
              <a:cxn ang="0">
                <a:pos x="266" y="463"/>
              </a:cxn>
              <a:cxn ang="0">
                <a:pos x="278" y="482"/>
              </a:cxn>
              <a:cxn ang="0">
                <a:pos x="299" y="494"/>
              </a:cxn>
              <a:cxn ang="0">
                <a:pos x="344" y="504"/>
              </a:cxn>
              <a:cxn ang="0">
                <a:pos x="387" y="504"/>
              </a:cxn>
              <a:cxn ang="0">
                <a:pos x="415" y="494"/>
              </a:cxn>
              <a:cxn ang="0">
                <a:pos x="446" y="474"/>
              </a:cxn>
              <a:cxn ang="0">
                <a:pos x="473" y="447"/>
              </a:cxn>
              <a:cxn ang="0">
                <a:pos x="485" y="418"/>
              </a:cxn>
              <a:cxn ang="0">
                <a:pos x="484" y="397"/>
              </a:cxn>
              <a:cxn ang="0">
                <a:pos x="478" y="358"/>
              </a:cxn>
              <a:cxn ang="0">
                <a:pos x="471" y="316"/>
              </a:cxn>
              <a:cxn ang="0">
                <a:pos x="465" y="270"/>
              </a:cxn>
              <a:cxn ang="0">
                <a:pos x="456" y="252"/>
              </a:cxn>
              <a:cxn ang="0">
                <a:pos x="439" y="239"/>
              </a:cxn>
              <a:cxn ang="0">
                <a:pos x="413" y="232"/>
              </a:cxn>
              <a:cxn ang="0">
                <a:pos x="392" y="222"/>
              </a:cxn>
              <a:cxn ang="0">
                <a:pos x="370" y="207"/>
              </a:cxn>
              <a:cxn ang="0">
                <a:pos x="330" y="188"/>
              </a:cxn>
              <a:cxn ang="0">
                <a:pos x="290" y="172"/>
              </a:cxn>
              <a:cxn ang="0">
                <a:pos x="273" y="160"/>
              </a:cxn>
              <a:cxn ang="0">
                <a:pos x="264" y="151"/>
              </a:cxn>
              <a:cxn ang="0">
                <a:pos x="261" y="125"/>
              </a:cxn>
              <a:cxn ang="0">
                <a:pos x="261" y="90"/>
              </a:cxn>
              <a:cxn ang="0">
                <a:pos x="255" y="71"/>
              </a:cxn>
              <a:cxn ang="0">
                <a:pos x="241" y="55"/>
              </a:cxn>
              <a:cxn ang="0">
                <a:pos x="234" y="37"/>
              </a:cxn>
              <a:cxn ang="0">
                <a:pos x="199" y="12"/>
              </a:cxn>
              <a:cxn ang="0">
                <a:pos x="186" y="8"/>
              </a:cxn>
              <a:cxn ang="0">
                <a:pos x="173" y="2"/>
              </a:cxn>
              <a:cxn ang="0">
                <a:pos x="139" y="1"/>
              </a:cxn>
              <a:cxn ang="0">
                <a:pos x="70" y="11"/>
              </a:cxn>
              <a:cxn ang="0">
                <a:pos x="42" y="21"/>
              </a:cxn>
              <a:cxn ang="0">
                <a:pos x="24" y="37"/>
              </a:cxn>
              <a:cxn ang="0">
                <a:pos x="20" y="64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3051430" y="3798422"/>
            <a:ext cx="73025" cy="109537"/>
          </a:xfrm>
          <a:custGeom>
            <a:avLst/>
            <a:gdLst/>
            <a:ahLst/>
            <a:cxnLst>
              <a:cxn ang="0">
                <a:pos x="7" y="183"/>
              </a:cxn>
              <a:cxn ang="0">
                <a:pos x="79" y="208"/>
              </a:cxn>
              <a:cxn ang="0">
                <a:pos x="85" y="207"/>
              </a:cxn>
              <a:cxn ang="0">
                <a:pos x="90" y="204"/>
              </a:cxn>
              <a:cxn ang="0">
                <a:pos x="97" y="198"/>
              </a:cxn>
              <a:cxn ang="0">
                <a:pos x="104" y="192"/>
              </a:cxn>
              <a:cxn ang="0">
                <a:pos x="117" y="176"/>
              </a:cxn>
              <a:cxn ang="0">
                <a:pos x="130" y="158"/>
              </a:cxn>
              <a:cxn ang="0">
                <a:pos x="154" y="122"/>
              </a:cxn>
              <a:cxn ang="0">
                <a:pos x="166" y="103"/>
              </a:cxn>
              <a:cxn ang="0">
                <a:pos x="144" y="94"/>
              </a:cxn>
              <a:cxn ang="0">
                <a:pos x="126" y="84"/>
              </a:cxn>
              <a:cxn ang="0">
                <a:pos x="108" y="74"/>
              </a:cxn>
              <a:cxn ang="0">
                <a:pos x="93" y="64"/>
              </a:cxn>
              <a:cxn ang="0">
                <a:pos x="86" y="58"/>
              </a:cxn>
              <a:cxn ang="0">
                <a:pos x="81" y="53"/>
              </a:cxn>
              <a:cxn ang="0">
                <a:pos x="75" y="47"/>
              </a:cxn>
              <a:cxn ang="0">
                <a:pos x="71" y="40"/>
              </a:cxn>
              <a:cxn ang="0">
                <a:pos x="67" y="33"/>
              </a:cxn>
              <a:cxn ang="0">
                <a:pos x="64" y="26"/>
              </a:cxn>
              <a:cxn ang="0">
                <a:pos x="62" y="18"/>
              </a:cxn>
              <a:cxn ang="0">
                <a:pos x="60" y="11"/>
              </a:cxn>
              <a:cxn ang="0">
                <a:pos x="50" y="10"/>
              </a:cxn>
              <a:cxn ang="0">
                <a:pos x="43" y="8"/>
              </a:cxn>
              <a:cxn ang="0">
                <a:pos x="40" y="5"/>
              </a:cxn>
              <a:cxn ang="0">
                <a:pos x="39" y="3"/>
              </a:cxn>
              <a:cxn ang="0">
                <a:pos x="38" y="1"/>
              </a:cxn>
              <a:cxn ang="0">
                <a:pos x="36" y="0"/>
              </a:cxn>
              <a:cxn ang="0">
                <a:pos x="32" y="1"/>
              </a:cxn>
              <a:cxn ang="0">
                <a:pos x="27" y="5"/>
              </a:cxn>
              <a:cxn ang="0">
                <a:pos x="20" y="11"/>
              </a:cxn>
              <a:cxn ang="0">
                <a:pos x="11" y="22"/>
              </a:cxn>
              <a:cxn ang="0">
                <a:pos x="7" y="29"/>
              </a:cxn>
              <a:cxn ang="0">
                <a:pos x="4" y="37"/>
              </a:cxn>
              <a:cxn ang="0">
                <a:pos x="2" y="45"/>
              </a:cxn>
              <a:cxn ang="0">
                <a:pos x="0" y="54"/>
              </a:cxn>
              <a:cxn ang="0">
                <a:pos x="0" y="60"/>
              </a:cxn>
              <a:cxn ang="0">
                <a:pos x="2" y="65"/>
              </a:cxn>
              <a:cxn ang="0">
                <a:pos x="3" y="70"/>
              </a:cxn>
              <a:cxn ang="0">
                <a:pos x="5" y="76"/>
              </a:cxn>
              <a:cxn ang="0">
                <a:pos x="10" y="86"/>
              </a:cxn>
              <a:cxn ang="0">
                <a:pos x="17" y="98"/>
              </a:cxn>
              <a:cxn ang="0">
                <a:pos x="22" y="109"/>
              </a:cxn>
              <a:cxn ang="0">
                <a:pos x="28" y="120"/>
              </a:cxn>
              <a:cxn ang="0">
                <a:pos x="30" y="126"/>
              </a:cxn>
              <a:cxn ang="0">
                <a:pos x="32" y="133"/>
              </a:cxn>
              <a:cxn ang="0">
                <a:pos x="33" y="139"/>
              </a:cxn>
              <a:cxn ang="0">
                <a:pos x="33" y="147"/>
              </a:cxn>
              <a:cxn ang="0">
                <a:pos x="32" y="153"/>
              </a:cxn>
              <a:cxn ang="0">
                <a:pos x="31" y="159"/>
              </a:cxn>
              <a:cxn ang="0">
                <a:pos x="28" y="165"/>
              </a:cxn>
              <a:cxn ang="0">
                <a:pos x="25" y="169"/>
              </a:cxn>
              <a:cxn ang="0">
                <a:pos x="21" y="174"/>
              </a:cxn>
              <a:cxn ang="0">
                <a:pos x="17" y="177"/>
              </a:cxn>
              <a:cxn ang="0">
                <a:pos x="11" y="180"/>
              </a:cxn>
              <a:cxn ang="0">
                <a:pos x="7" y="183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565653" y="3357120"/>
            <a:ext cx="69850" cy="58737"/>
          </a:xfrm>
          <a:custGeom>
            <a:avLst/>
            <a:gdLst/>
            <a:ahLst/>
            <a:cxnLst>
              <a:cxn ang="0">
                <a:pos x="153" y="104"/>
              </a:cxn>
              <a:cxn ang="0">
                <a:pos x="134" y="102"/>
              </a:cxn>
              <a:cxn ang="0">
                <a:pos x="110" y="97"/>
              </a:cxn>
              <a:cxn ang="0">
                <a:pos x="96" y="94"/>
              </a:cxn>
              <a:cxn ang="0">
                <a:pos x="80" y="93"/>
              </a:cxn>
              <a:cxn ang="0">
                <a:pos x="73" y="93"/>
              </a:cxn>
              <a:cxn ang="0">
                <a:pos x="64" y="94"/>
              </a:cxn>
              <a:cxn ang="0">
                <a:pos x="55" y="96"/>
              </a:cxn>
              <a:cxn ang="0">
                <a:pos x="47" y="98"/>
              </a:cxn>
              <a:cxn ang="0">
                <a:pos x="41" y="100"/>
              </a:cxn>
              <a:cxn ang="0">
                <a:pos x="34" y="100"/>
              </a:cxn>
              <a:cxn ang="0">
                <a:pos x="27" y="99"/>
              </a:cxn>
              <a:cxn ang="0">
                <a:pos x="19" y="96"/>
              </a:cxn>
              <a:cxn ang="0">
                <a:pos x="11" y="92"/>
              </a:cxn>
              <a:cxn ang="0">
                <a:pos x="6" y="88"/>
              </a:cxn>
              <a:cxn ang="0">
                <a:pos x="3" y="86"/>
              </a:cxn>
              <a:cxn ang="0">
                <a:pos x="1" y="84"/>
              </a:cxn>
              <a:cxn ang="0">
                <a:pos x="0" y="81"/>
              </a:cxn>
              <a:cxn ang="0">
                <a:pos x="0" y="79"/>
              </a:cxn>
              <a:cxn ang="0">
                <a:pos x="0" y="76"/>
              </a:cxn>
              <a:cxn ang="0">
                <a:pos x="1" y="74"/>
              </a:cxn>
              <a:cxn ang="0">
                <a:pos x="3" y="71"/>
              </a:cxn>
              <a:cxn ang="0">
                <a:pos x="6" y="70"/>
              </a:cxn>
              <a:cxn ang="0">
                <a:pos x="12" y="67"/>
              </a:cxn>
              <a:cxn ang="0">
                <a:pos x="20" y="66"/>
              </a:cxn>
              <a:cxn ang="0">
                <a:pos x="40" y="66"/>
              </a:cxn>
              <a:cxn ang="0">
                <a:pos x="61" y="67"/>
              </a:cxn>
              <a:cxn ang="0">
                <a:pos x="70" y="67"/>
              </a:cxn>
              <a:cxn ang="0">
                <a:pos x="79" y="67"/>
              </a:cxn>
              <a:cxn ang="0">
                <a:pos x="87" y="67"/>
              </a:cxn>
              <a:cxn ang="0">
                <a:pos x="94" y="67"/>
              </a:cxn>
              <a:cxn ang="0">
                <a:pos x="94" y="56"/>
              </a:cxn>
              <a:cxn ang="0">
                <a:pos x="94" y="43"/>
              </a:cxn>
              <a:cxn ang="0">
                <a:pos x="94" y="29"/>
              </a:cxn>
              <a:cxn ang="0">
                <a:pos x="94" y="18"/>
              </a:cxn>
              <a:cxn ang="0">
                <a:pos x="79" y="17"/>
              </a:cxn>
              <a:cxn ang="0">
                <a:pos x="67" y="15"/>
              </a:cxn>
              <a:cxn ang="0">
                <a:pos x="62" y="13"/>
              </a:cxn>
              <a:cxn ang="0">
                <a:pos x="57" y="10"/>
              </a:cxn>
              <a:cxn ang="0">
                <a:pos x="52" y="6"/>
              </a:cxn>
              <a:cxn ang="0">
                <a:pos x="47" y="0"/>
              </a:cxn>
              <a:cxn ang="0">
                <a:pos x="146" y="0"/>
              </a:cxn>
              <a:cxn ang="0">
                <a:pos x="147" y="6"/>
              </a:cxn>
              <a:cxn ang="0">
                <a:pos x="148" y="13"/>
              </a:cxn>
              <a:cxn ang="0">
                <a:pos x="150" y="19"/>
              </a:cxn>
              <a:cxn ang="0">
                <a:pos x="152" y="25"/>
              </a:cxn>
              <a:cxn ang="0">
                <a:pos x="156" y="35"/>
              </a:cxn>
              <a:cxn ang="0">
                <a:pos x="159" y="46"/>
              </a:cxn>
              <a:cxn ang="0">
                <a:pos x="163" y="54"/>
              </a:cxn>
              <a:cxn ang="0">
                <a:pos x="164" y="62"/>
              </a:cxn>
              <a:cxn ang="0">
                <a:pos x="163" y="65"/>
              </a:cxn>
              <a:cxn ang="0">
                <a:pos x="160" y="68"/>
              </a:cxn>
              <a:cxn ang="0">
                <a:pos x="157" y="71"/>
              </a:cxn>
              <a:cxn ang="0">
                <a:pos x="153" y="73"/>
              </a:cxn>
              <a:cxn ang="0">
                <a:pos x="153" y="104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932376" y="5711354"/>
            <a:ext cx="23813" cy="57151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897450" y="5690745"/>
            <a:ext cx="34925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6"/>
              </a:cxn>
              <a:cxn ang="0">
                <a:pos x="5" y="12"/>
              </a:cxn>
              <a:cxn ang="0">
                <a:pos x="8" y="14"/>
              </a:cxn>
              <a:cxn ang="0">
                <a:pos x="11" y="16"/>
              </a:cxn>
              <a:cxn ang="0">
                <a:pos x="15" y="18"/>
              </a:cxn>
              <a:cxn ang="0">
                <a:pos x="20" y="18"/>
              </a:cxn>
              <a:cxn ang="0">
                <a:pos x="22" y="15"/>
              </a:cxn>
              <a:cxn ang="0">
                <a:pos x="24" y="13"/>
              </a:cxn>
              <a:cxn ang="0">
                <a:pos x="26" y="11"/>
              </a:cxn>
              <a:cxn ang="0">
                <a:pos x="31" y="10"/>
              </a:cxn>
              <a:cxn ang="0">
                <a:pos x="38" y="8"/>
              </a:cxn>
              <a:cxn ang="0">
                <a:pos x="47" y="7"/>
              </a:cxn>
              <a:cxn ang="0">
                <a:pos x="57" y="7"/>
              </a:cxn>
              <a:cxn ang="0">
                <a:pos x="66" y="6"/>
              </a:cxn>
              <a:cxn ang="0">
                <a:pos x="70" y="5"/>
              </a:cxn>
              <a:cxn ang="0">
                <a:pos x="74" y="4"/>
              </a:cxn>
              <a:cxn ang="0">
                <a:pos x="77" y="2"/>
              </a:cxn>
              <a:cxn ang="0">
                <a:pos x="80" y="0"/>
              </a:cxn>
              <a:cxn ang="0">
                <a:pos x="0" y="0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897451" y="5670106"/>
            <a:ext cx="22225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8"/>
              </a:cxn>
              <a:cxn ang="0">
                <a:pos x="9" y="22"/>
              </a:cxn>
              <a:cxn ang="0">
                <a:pos x="16" y="25"/>
              </a:cxn>
              <a:cxn ang="0">
                <a:pos x="23" y="27"/>
              </a:cxn>
              <a:cxn ang="0">
                <a:pos x="29" y="27"/>
              </a:cxn>
              <a:cxn ang="0">
                <a:pos x="33" y="27"/>
              </a:cxn>
              <a:cxn ang="0">
                <a:pos x="37" y="25"/>
              </a:cxn>
              <a:cxn ang="0">
                <a:pos x="42" y="22"/>
              </a:cxn>
              <a:cxn ang="0">
                <a:pos x="46" y="18"/>
              </a:cxn>
              <a:cxn ang="0">
                <a:pos x="41" y="16"/>
              </a:cxn>
              <a:cxn ang="0">
                <a:pos x="33" y="11"/>
              </a:cxn>
              <a:cxn ang="0">
                <a:pos x="26" y="5"/>
              </a:cxn>
              <a:cxn ang="0">
                <a:pos x="20" y="0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9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867274" y="5663756"/>
            <a:ext cx="25400" cy="60325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20" y="4"/>
              </a:cxn>
              <a:cxn ang="0">
                <a:pos x="10" y="10"/>
              </a:cxn>
              <a:cxn ang="0">
                <a:pos x="6" y="13"/>
              </a:cxn>
              <a:cxn ang="0">
                <a:pos x="4" y="16"/>
              </a:cxn>
              <a:cxn ang="0">
                <a:pos x="2" y="20"/>
              </a:cxn>
              <a:cxn ang="0">
                <a:pos x="0" y="24"/>
              </a:cxn>
              <a:cxn ang="0">
                <a:pos x="2" y="28"/>
              </a:cxn>
              <a:cxn ang="0">
                <a:pos x="3" y="32"/>
              </a:cxn>
              <a:cxn ang="0">
                <a:pos x="5" y="35"/>
              </a:cxn>
              <a:cxn ang="0">
                <a:pos x="8" y="37"/>
              </a:cxn>
              <a:cxn ang="0">
                <a:pos x="11" y="38"/>
              </a:cxn>
              <a:cxn ang="0">
                <a:pos x="16" y="39"/>
              </a:cxn>
              <a:cxn ang="0">
                <a:pos x="20" y="39"/>
              </a:cxn>
              <a:cxn ang="0">
                <a:pos x="25" y="39"/>
              </a:cxn>
              <a:cxn ang="0">
                <a:pos x="30" y="38"/>
              </a:cxn>
              <a:cxn ang="0">
                <a:pos x="34" y="37"/>
              </a:cxn>
              <a:cxn ang="0">
                <a:pos x="39" y="35"/>
              </a:cxn>
              <a:cxn ang="0">
                <a:pos x="43" y="33"/>
              </a:cxn>
              <a:cxn ang="0">
                <a:pos x="47" y="30"/>
              </a:cxn>
              <a:cxn ang="0">
                <a:pos x="50" y="26"/>
              </a:cxn>
              <a:cxn ang="0">
                <a:pos x="52" y="22"/>
              </a:cxn>
              <a:cxn ang="0">
                <a:pos x="54" y="18"/>
              </a:cxn>
              <a:cxn ang="0">
                <a:pos x="51" y="17"/>
              </a:cxn>
              <a:cxn ang="0">
                <a:pos x="48" y="16"/>
              </a:cxn>
              <a:cxn ang="0">
                <a:pos x="44" y="14"/>
              </a:cxn>
              <a:cxn ang="0">
                <a:pos x="42" y="11"/>
              </a:cxn>
              <a:cxn ang="0">
                <a:pos x="39" y="8"/>
              </a:cxn>
              <a:cxn ang="0">
                <a:pos x="37" y="5"/>
              </a:cxn>
              <a:cxn ang="0">
                <a:pos x="34" y="2"/>
              </a:cxn>
              <a:cxn ang="0">
                <a:pos x="34" y="0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841881" y="5654204"/>
            <a:ext cx="28575" cy="58739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0" y="13"/>
              </a:cxn>
              <a:cxn ang="0">
                <a:pos x="18" y="14"/>
              </a:cxn>
              <a:cxn ang="0">
                <a:pos x="27" y="15"/>
              </a:cxn>
              <a:cxn ang="0">
                <a:pos x="35" y="15"/>
              </a:cxn>
              <a:cxn ang="0">
                <a:pos x="41" y="14"/>
              </a:cxn>
              <a:cxn ang="0">
                <a:pos x="48" y="12"/>
              </a:cxn>
              <a:cxn ang="0">
                <a:pos x="55" y="9"/>
              </a:cxn>
              <a:cxn ang="0">
                <a:pos x="60" y="5"/>
              </a:cxn>
              <a:cxn ang="0">
                <a:pos x="57" y="3"/>
              </a:cxn>
              <a:cxn ang="0">
                <a:pos x="54" y="0"/>
              </a:cxn>
              <a:cxn ang="0">
                <a:pos x="51" y="0"/>
              </a:cxn>
              <a:cxn ang="0">
                <a:pos x="47" y="0"/>
              </a:cxn>
              <a:cxn ang="0">
                <a:pos x="40" y="0"/>
              </a:cxn>
              <a:cxn ang="0">
                <a:pos x="33" y="3"/>
              </a:cxn>
              <a:cxn ang="0">
                <a:pos x="24" y="6"/>
              </a:cxn>
              <a:cxn ang="0">
                <a:pos x="16" y="8"/>
              </a:cxn>
              <a:cxn ang="0">
                <a:pos x="7" y="10"/>
              </a:cxn>
              <a:cxn ang="0">
                <a:pos x="0" y="11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818061" y="5641505"/>
            <a:ext cx="33338" cy="57151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4" y="1"/>
              </a:cxn>
              <a:cxn ang="0">
                <a:pos x="30" y="2"/>
              </a:cxn>
              <a:cxn ang="0">
                <a:pos x="25" y="4"/>
              </a:cxn>
              <a:cxn ang="0">
                <a:pos x="20" y="6"/>
              </a:cxn>
              <a:cxn ang="0">
                <a:pos x="15" y="9"/>
              </a:cxn>
              <a:cxn ang="0">
                <a:pos x="10" y="11"/>
              </a:cxn>
              <a:cxn ang="0">
                <a:pos x="5" y="12"/>
              </a:cxn>
              <a:cxn ang="0">
                <a:pos x="0" y="13"/>
              </a:cxn>
              <a:cxn ang="0">
                <a:pos x="5" y="21"/>
              </a:cxn>
              <a:cxn ang="0">
                <a:pos x="10" y="26"/>
              </a:cxn>
              <a:cxn ang="0">
                <a:pos x="12" y="29"/>
              </a:cxn>
              <a:cxn ang="0">
                <a:pos x="15" y="31"/>
              </a:cxn>
              <a:cxn ang="0">
                <a:pos x="18" y="31"/>
              </a:cxn>
              <a:cxn ang="0">
                <a:pos x="20" y="32"/>
              </a:cxn>
              <a:cxn ang="0">
                <a:pos x="27" y="31"/>
              </a:cxn>
              <a:cxn ang="0">
                <a:pos x="34" y="30"/>
              </a:cxn>
              <a:cxn ang="0">
                <a:pos x="41" y="27"/>
              </a:cxn>
              <a:cxn ang="0">
                <a:pos x="48" y="24"/>
              </a:cxn>
              <a:cxn ang="0">
                <a:pos x="62" y="18"/>
              </a:cxn>
              <a:cxn ang="0">
                <a:pos x="79" y="13"/>
              </a:cxn>
              <a:cxn ang="0">
                <a:pos x="67" y="6"/>
              </a:cxn>
              <a:cxn ang="0">
                <a:pos x="58" y="2"/>
              </a:cxn>
              <a:cxn ang="0">
                <a:pos x="49" y="1"/>
              </a:cxn>
              <a:cxn ang="0">
                <a:pos x="40" y="0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2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811726" y="5622454"/>
            <a:ext cx="30163" cy="57151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5" y="1"/>
              </a:cxn>
              <a:cxn ang="0">
                <a:pos x="19" y="2"/>
              </a:cxn>
              <a:cxn ang="0">
                <a:pos x="13" y="4"/>
              </a:cxn>
              <a:cxn ang="0">
                <a:pos x="9" y="7"/>
              </a:cxn>
              <a:cxn ang="0">
                <a:pos x="5" y="11"/>
              </a:cxn>
              <a:cxn ang="0">
                <a:pos x="2" y="14"/>
              </a:cxn>
              <a:cxn ang="0">
                <a:pos x="0" y="17"/>
              </a:cxn>
              <a:cxn ang="0">
                <a:pos x="0" y="19"/>
              </a:cxn>
              <a:cxn ang="0">
                <a:pos x="19" y="19"/>
              </a:cxn>
              <a:cxn ang="0">
                <a:pos x="38" y="19"/>
              </a:cxn>
              <a:cxn ang="0">
                <a:pos x="46" y="18"/>
              </a:cxn>
              <a:cxn ang="0">
                <a:pos x="54" y="17"/>
              </a:cxn>
              <a:cxn ang="0">
                <a:pos x="61" y="15"/>
              </a:cxn>
              <a:cxn ang="0">
                <a:pos x="66" y="13"/>
              </a:cxn>
              <a:cxn ang="0">
                <a:pos x="57" y="8"/>
              </a:cxn>
              <a:cxn ang="0">
                <a:pos x="50" y="4"/>
              </a:cxn>
              <a:cxn ang="0">
                <a:pos x="42" y="1"/>
              </a:cxn>
              <a:cxn ang="0">
                <a:pos x="33" y="0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3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711702" y="5312919"/>
            <a:ext cx="25400" cy="6032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5"/>
              </a:cxn>
              <a:cxn ang="0">
                <a:pos x="4" y="10"/>
              </a:cxn>
              <a:cxn ang="0">
                <a:pos x="2" y="13"/>
              </a:cxn>
              <a:cxn ang="0">
                <a:pos x="1" y="16"/>
              </a:cxn>
              <a:cxn ang="0">
                <a:pos x="0" y="20"/>
              </a:cxn>
              <a:cxn ang="0">
                <a:pos x="0" y="25"/>
              </a:cxn>
              <a:cxn ang="0">
                <a:pos x="0" y="30"/>
              </a:cxn>
              <a:cxn ang="0">
                <a:pos x="2" y="39"/>
              </a:cxn>
              <a:cxn ang="0">
                <a:pos x="6" y="48"/>
              </a:cxn>
              <a:cxn ang="0">
                <a:pos x="9" y="57"/>
              </a:cxn>
              <a:cxn ang="0">
                <a:pos x="13" y="66"/>
              </a:cxn>
              <a:cxn ang="0">
                <a:pos x="20" y="73"/>
              </a:cxn>
              <a:cxn ang="0">
                <a:pos x="22" y="76"/>
              </a:cxn>
              <a:cxn ang="0">
                <a:pos x="26" y="78"/>
              </a:cxn>
              <a:cxn ang="0">
                <a:pos x="30" y="80"/>
              </a:cxn>
              <a:cxn ang="0">
                <a:pos x="33" y="80"/>
              </a:cxn>
              <a:cxn ang="0">
                <a:pos x="36" y="79"/>
              </a:cxn>
              <a:cxn ang="0">
                <a:pos x="38" y="78"/>
              </a:cxn>
              <a:cxn ang="0">
                <a:pos x="42" y="76"/>
              </a:cxn>
              <a:cxn ang="0">
                <a:pos x="45" y="73"/>
              </a:cxn>
              <a:cxn ang="0">
                <a:pos x="48" y="70"/>
              </a:cxn>
              <a:cxn ang="0">
                <a:pos x="51" y="67"/>
              </a:cxn>
              <a:cxn ang="0">
                <a:pos x="53" y="64"/>
              </a:cxn>
              <a:cxn ang="0">
                <a:pos x="53" y="62"/>
              </a:cxn>
              <a:cxn ang="0">
                <a:pos x="52" y="54"/>
              </a:cxn>
              <a:cxn ang="0">
                <a:pos x="49" y="47"/>
              </a:cxn>
              <a:cxn ang="0">
                <a:pos x="46" y="42"/>
              </a:cxn>
              <a:cxn ang="0">
                <a:pos x="43" y="37"/>
              </a:cxn>
              <a:cxn ang="0">
                <a:pos x="40" y="32"/>
              </a:cxn>
              <a:cxn ang="0">
                <a:pos x="36" y="27"/>
              </a:cxn>
              <a:cxn ang="0">
                <a:pos x="34" y="20"/>
              </a:cxn>
              <a:cxn ang="0">
                <a:pos x="33" y="12"/>
              </a:cxn>
              <a:cxn ang="0">
                <a:pos x="33" y="10"/>
              </a:cxn>
              <a:cxn ang="0">
                <a:pos x="31" y="8"/>
              </a:cxn>
              <a:cxn ang="0">
                <a:pos x="29" y="6"/>
              </a:cxn>
              <a:cxn ang="0">
                <a:pos x="25" y="4"/>
              </a:cxn>
              <a:cxn ang="0">
                <a:pos x="19" y="1"/>
              </a:cxn>
              <a:cxn ang="0">
                <a:pos x="13" y="0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741867" y="5408170"/>
            <a:ext cx="17463" cy="53975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27" y="43"/>
              </a:cxn>
              <a:cxn ang="0">
                <a:pos x="41" y="24"/>
              </a:cxn>
              <a:cxn ang="0">
                <a:pos x="38" y="12"/>
              </a:cxn>
              <a:cxn ang="0">
                <a:pos x="34" y="0"/>
              </a:cxn>
              <a:cxn ang="0">
                <a:pos x="27" y="4"/>
              </a:cxn>
              <a:cxn ang="0">
                <a:pos x="20" y="9"/>
              </a:cxn>
              <a:cxn ang="0">
                <a:pos x="15" y="14"/>
              </a:cxn>
              <a:cxn ang="0">
                <a:pos x="10" y="19"/>
              </a:cxn>
              <a:cxn ang="0">
                <a:pos x="6" y="24"/>
              </a:cxn>
              <a:cxn ang="0">
                <a:pos x="3" y="30"/>
              </a:cxn>
              <a:cxn ang="0">
                <a:pos x="1" y="37"/>
              </a:cxn>
              <a:cxn ang="0">
                <a:pos x="0" y="43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746630" y="5430394"/>
            <a:ext cx="7937" cy="5873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0"/>
              </a:cxn>
              <a:cxn ang="0">
                <a:pos x="1" y="5"/>
              </a:cxn>
              <a:cxn ang="0">
                <a:pos x="2" y="9"/>
              </a:cxn>
              <a:cxn ang="0">
                <a:pos x="4" y="13"/>
              </a:cxn>
              <a:cxn ang="0">
                <a:pos x="7" y="17"/>
              </a:cxn>
              <a:cxn ang="0">
                <a:pos x="10" y="20"/>
              </a:cxn>
              <a:cxn ang="0">
                <a:pos x="14" y="22"/>
              </a:cxn>
              <a:cxn ang="0">
                <a:pos x="17" y="24"/>
              </a:cxn>
              <a:cxn ang="0">
                <a:pos x="20" y="2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760918" y="5492306"/>
            <a:ext cx="17463" cy="6032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7"/>
              </a:cxn>
              <a:cxn ang="0">
                <a:pos x="6" y="22"/>
              </a:cxn>
              <a:cxn ang="0">
                <a:pos x="12" y="27"/>
              </a:cxn>
              <a:cxn ang="0">
                <a:pos x="16" y="32"/>
              </a:cxn>
              <a:cxn ang="0">
                <a:pos x="23" y="37"/>
              </a:cxn>
              <a:cxn ang="0">
                <a:pos x="28" y="40"/>
              </a:cxn>
              <a:cxn ang="0">
                <a:pos x="34" y="43"/>
              </a:cxn>
              <a:cxn ang="0">
                <a:pos x="39" y="43"/>
              </a:cxn>
              <a:cxn ang="0">
                <a:pos x="38" y="32"/>
              </a:cxn>
              <a:cxn ang="0">
                <a:pos x="36" y="19"/>
              </a:cxn>
              <a:cxn ang="0">
                <a:pos x="34" y="8"/>
              </a:cxn>
              <a:cxn ang="0">
                <a:pos x="32" y="0"/>
              </a:cxn>
              <a:cxn ang="0">
                <a:pos x="19" y="3"/>
              </a:cxn>
              <a:cxn ang="0">
                <a:pos x="6" y="6"/>
              </a:cxn>
              <a:cxn ang="0">
                <a:pos x="0" y="12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748216" y="5504979"/>
            <a:ext cx="26988" cy="58739"/>
          </a:xfrm>
          <a:custGeom>
            <a:avLst/>
            <a:gdLst/>
            <a:ahLst/>
            <a:cxnLst>
              <a:cxn ang="0">
                <a:pos x="29" y="26"/>
              </a:cxn>
              <a:cxn ang="0">
                <a:pos x="8" y="0"/>
              </a:cxn>
              <a:cxn ang="0">
                <a:pos x="4" y="5"/>
              </a:cxn>
              <a:cxn ang="0">
                <a:pos x="1" y="11"/>
              </a:cxn>
              <a:cxn ang="0">
                <a:pos x="0" y="16"/>
              </a:cxn>
              <a:cxn ang="0">
                <a:pos x="0" y="21"/>
              </a:cxn>
              <a:cxn ang="0">
                <a:pos x="2" y="26"/>
              </a:cxn>
              <a:cxn ang="0">
                <a:pos x="4" y="31"/>
              </a:cxn>
              <a:cxn ang="0">
                <a:pos x="8" y="36"/>
              </a:cxn>
              <a:cxn ang="0">
                <a:pos x="11" y="41"/>
              </a:cxn>
              <a:cxn ang="0">
                <a:pos x="16" y="45"/>
              </a:cxn>
              <a:cxn ang="0">
                <a:pos x="21" y="49"/>
              </a:cxn>
              <a:cxn ang="0">
                <a:pos x="26" y="53"/>
              </a:cxn>
              <a:cxn ang="0">
                <a:pos x="33" y="56"/>
              </a:cxn>
              <a:cxn ang="0">
                <a:pos x="38" y="58"/>
              </a:cxn>
              <a:cxn ang="0">
                <a:pos x="44" y="60"/>
              </a:cxn>
              <a:cxn ang="0">
                <a:pos x="49" y="61"/>
              </a:cxn>
              <a:cxn ang="0">
                <a:pos x="55" y="62"/>
              </a:cxn>
              <a:cxn ang="0">
                <a:pos x="54" y="53"/>
              </a:cxn>
              <a:cxn ang="0">
                <a:pos x="53" y="46"/>
              </a:cxn>
              <a:cxn ang="0">
                <a:pos x="49" y="40"/>
              </a:cxn>
              <a:cxn ang="0">
                <a:pos x="46" y="35"/>
              </a:cxn>
              <a:cxn ang="0">
                <a:pos x="43" y="31"/>
              </a:cxn>
              <a:cxn ang="0">
                <a:pos x="38" y="28"/>
              </a:cxn>
              <a:cxn ang="0">
                <a:pos x="33" y="26"/>
              </a:cxn>
              <a:cxn ang="0">
                <a:pos x="29" y="26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8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778374" y="5538344"/>
            <a:ext cx="11112" cy="58737"/>
          </a:xfrm>
          <a:custGeom>
            <a:avLst/>
            <a:gdLst/>
            <a:ahLst/>
            <a:cxnLst>
              <a:cxn ang="0">
                <a:pos x="33" y="13"/>
              </a:cxn>
              <a:cxn ang="0">
                <a:pos x="7" y="0"/>
              </a:cxn>
              <a:cxn ang="0">
                <a:pos x="4" y="8"/>
              </a:cxn>
              <a:cxn ang="0">
                <a:pos x="0" y="19"/>
              </a:cxn>
              <a:cxn ang="0">
                <a:pos x="2" y="28"/>
              </a:cxn>
              <a:cxn ang="0">
                <a:pos x="5" y="36"/>
              </a:cxn>
              <a:cxn ang="0">
                <a:pos x="6" y="39"/>
              </a:cxn>
              <a:cxn ang="0">
                <a:pos x="8" y="41"/>
              </a:cxn>
              <a:cxn ang="0">
                <a:pos x="11" y="43"/>
              </a:cxn>
              <a:cxn ang="0">
                <a:pos x="14" y="43"/>
              </a:cxn>
              <a:cxn ang="0">
                <a:pos x="18" y="43"/>
              </a:cxn>
              <a:cxn ang="0">
                <a:pos x="22" y="42"/>
              </a:cxn>
              <a:cxn ang="0">
                <a:pos x="26" y="41"/>
              </a:cxn>
              <a:cxn ang="0">
                <a:pos x="28" y="39"/>
              </a:cxn>
              <a:cxn ang="0">
                <a:pos x="31" y="35"/>
              </a:cxn>
              <a:cxn ang="0">
                <a:pos x="33" y="30"/>
              </a:cxn>
              <a:cxn ang="0">
                <a:pos x="35" y="20"/>
              </a:cxn>
              <a:cxn ang="0">
                <a:pos x="33" y="13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9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775212" y="5571681"/>
            <a:ext cx="20637" cy="5556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41" y="1"/>
              </a:cxn>
              <a:cxn ang="0">
                <a:pos x="32" y="2"/>
              </a:cxn>
              <a:cxn ang="0">
                <a:pos x="25" y="5"/>
              </a:cxn>
              <a:cxn ang="0">
                <a:pos x="21" y="7"/>
              </a:cxn>
              <a:cxn ang="0">
                <a:pos x="17" y="10"/>
              </a:cxn>
              <a:cxn ang="0">
                <a:pos x="13" y="13"/>
              </a:cxn>
              <a:cxn ang="0">
                <a:pos x="8" y="16"/>
              </a:cxn>
              <a:cxn ang="0">
                <a:pos x="0" y="18"/>
              </a:cxn>
              <a:cxn ang="0">
                <a:pos x="5" y="20"/>
              </a:cxn>
              <a:cxn ang="0">
                <a:pos x="11" y="21"/>
              </a:cxn>
              <a:cxn ang="0">
                <a:pos x="17" y="21"/>
              </a:cxn>
              <a:cxn ang="0">
                <a:pos x="24" y="21"/>
              </a:cxn>
              <a:cxn ang="0">
                <a:pos x="38" y="19"/>
              </a:cxn>
              <a:cxn ang="0">
                <a:pos x="53" y="18"/>
              </a:cxn>
              <a:cxn ang="0">
                <a:pos x="53" y="0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0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799018" y="5585942"/>
            <a:ext cx="17463" cy="57151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1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0" y="6"/>
              </a:cxn>
              <a:cxn ang="0">
                <a:pos x="1" y="10"/>
              </a:cxn>
              <a:cxn ang="0">
                <a:pos x="2" y="12"/>
              </a:cxn>
              <a:cxn ang="0">
                <a:pos x="3" y="18"/>
              </a:cxn>
              <a:cxn ang="0">
                <a:pos x="5" y="25"/>
              </a:cxn>
              <a:cxn ang="0">
                <a:pos x="10" y="30"/>
              </a:cxn>
              <a:cxn ang="0">
                <a:pos x="15" y="34"/>
              </a:cxn>
              <a:cxn ang="0">
                <a:pos x="21" y="37"/>
              </a:cxn>
              <a:cxn ang="0">
                <a:pos x="27" y="38"/>
              </a:cxn>
              <a:cxn ang="0">
                <a:pos x="35" y="38"/>
              </a:cxn>
              <a:cxn ang="0">
                <a:pos x="43" y="37"/>
              </a:cxn>
              <a:cxn ang="0">
                <a:pos x="40" y="29"/>
              </a:cxn>
              <a:cxn ang="0">
                <a:pos x="36" y="23"/>
              </a:cxn>
              <a:cxn ang="0">
                <a:pos x="33" y="17"/>
              </a:cxn>
              <a:cxn ang="0">
                <a:pos x="30" y="13"/>
              </a:cxn>
              <a:cxn ang="0">
                <a:pos x="27" y="10"/>
              </a:cxn>
              <a:cxn ang="0">
                <a:pos x="24" y="7"/>
              </a:cxn>
              <a:cxn ang="0">
                <a:pos x="23" y="4"/>
              </a:cxn>
              <a:cxn ang="0">
                <a:pos x="22" y="0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1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800599" y="5614518"/>
            <a:ext cx="6350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4" y="4"/>
              </a:cxn>
              <a:cxn ang="0">
                <a:pos x="7" y="5"/>
              </a:cxn>
              <a:cxn ang="0">
                <a:pos x="11" y="4"/>
              </a:cxn>
              <a:cxn ang="0">
                <a:pos x="14" y="3"/>
              </a:cxn>
              <a:cxn ang="0">
                <a:pos x="17" y="2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2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875226" y="5684367"/>
            <a:ext cx="34925" cy="57151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2" y="1"/>
              </a:cxn>
              <a:cxn ang="0">
                <a:pos x="26" y="2"/>
              </a:cxn>
              <a:cxn ang="0">
                <a:pos x="20" y="5"/>
              </a:cxn>
              <a:cxn ang="0">
                <a:pos x="15" y="8"/>
              </a:cxn>
              <a:cxn ang="0">
                <a:pos x="6" y="14"/>
              </a:cxn>
              <a:cxn ang="0">
                <a:pos x="0" y="19"/>
              </a:cxn>
              <a:cxn ang="0">
                <a:pos x="20" y="20"/>
              </a:cxn>
              <a:cxn ang="0">
                <a:pos x="39" y="22"/>
              </a:cxn>
              <a:cxn ang="0">
                <a:pos x="49" y="22"/>
              </a:cxn>
              <a:cxn ang="0">
                <a:pos x="57" y="22"/>
              </a:cxn>
              <a:cxn ang="0">
                <a:pos x="65" y="21"/>
              </a:cxn>
              <a:cxn ang="0">
                <a:pos x="73" y="19"/>
              </a:cxn>
              <a:cxn ang="0">
                <a:pos x="64" y="14"/>
              </a:cxn>
              <a:cxn ang="0">
                <a:pos x="56" y="8"/>
              </a:cxn>
              <a:cxn ang="0">
                <a:pos x="53" y="5"/>
              </a:cxn>
              <a:cxn ang="0">
                <a:pos x="49" y="2"/>
              </a:cxn>
              <a:cxn ang="0">
                <a:pos x="44" y="1"/>
              </a:cxn>
              <a:cxn ang="0">
                <a:pos x="40" y="0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3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913314" y="5625656"/>
            <a:ext cx="123825" cy="100013"/>
          </a:xfrm>
          <a:custGeom>
            <a:avLst/>
            <a:gdLst/>
            <a:ahLst/>
            <a:cxnLst>
              <a:cxn ang="0">
                <a:pos x="235" y="168"/>
              </a:cxn>
              <a:cxn ang="0">
                <a:pos x="188" y="171"/>
              </a:cxn>
              <a:cxn ang="0">
                <a:pos x="168" y="168"/>
              </a:cxn>
              <a:cxn ang="0">
                <a:pos x="155" y="164"/>
              </a:cxn>
              <a:cxn ang="0">
                <a:pos x="130" y="135"/>
              </a:cxn>
              <a:cxn ang="0">
                <a:pos x="104" y="94"/>
              </a:cxn>
              <a:cxn ang="0">
                <a:pos x="94" y="74"/>
              </a:cxn>
              <a:cxn ang="0">
                <a:pos x="87" y="51"/>
              </a:cxn>
              <a:cxn ang="0">
                <a:pos x="83" y="27"/>
              </a:cxn>
              <a:cxn ang="0">
                <a:pos x="43" y="0"/>
              </a:cxn>
              <a:cxn ang="0">
                <a:pos x="28" y="52"/>
              </a:cxn>
              <a:cxn ang="0">
                <a:pos x="18" y="61"/>
              </a:cxn>
              <a:cxn ang="0">
                <a:pos x="6" y="69"/>
              </a:cxn>
              <a:cxn ang="0">
                <a:pos x="0" y="73"/>
              </a:cxn>
              <a:cxn ang="0">
                <a:pos x="1" y="75"/>
              </a:cxn>
              <a:cxn ang="0">
                <a:pos x="9" y="81"/>
              </a:cxn>
              <a:cxn ang="0">
                <a:pos x="37" y="111"/>
              </a:cxn>
              <a:cxn ang="0">
                <a:pos x="45" y="122"/>
              </a:cxn>
              <a:cxn ang="0">
                <a:pos x="53" y="129"/>
              </a:cxn>
              <a:cxn ang="0">
                <a:pos x="62" y="134"/>
              </a:cxn>
              <a:cxn ang="0">
                <a:pos x="71" y="136"/>
              </a:cxn>
              <a:cxn ang="0">
                <a:pos x="76" y="141"/>
              </a:cxn>
              <a:cxn ang="0">
                <a:pos x="79" y="148"/>
              </a:cxn>
              <a:cxn ang="0">
                <a:pos x="86" y="153"/>
              </a:cxn>
              <a:cxn ang="0">
                <a:pos x="99" y="154"/>
              </a:cxn>
              <a:cxn ang="0">
                <a:pos x="106" y="157"/>
              </a:cxn>
              <a:cxn ang="0">
                <a:pos x="109" y="163"/>
              </a:cxn>
              <a:cxn ang="0">
                <a:pos x="109" y="179"/>
              </a:cxn>
              <a:cxn ang="0">
                <a:pos x="111" y="189"/>
              </a:cxn>
              <a:cxn ang="0">
                <a:pos x="115" y="193"/>
              </a:cxn>
              <a:cxn ang="0">
                <a:pos x="129" y="193"/>
              </a:cxn>
              <a:cxn ang="0">
                <a:pos x="164" y="191"/>
              </a:cxn>
              <a:cxn ang="0">
                <a:pos x="180" y="189"/>
              </a:cxn>
              <a:cxn ang="0">
                <a:pos x="192" y="186"/>
              </a:cxn>
              <a:cxn ang="0">
                <a:pos x="212" y="188"/>
              </a:cxn>
              <a:cxn ang="0">
                <a:pos x="281" y="167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465636" y="3392045"/>
            <a:ext cx="52388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4" y="26"/>
              </a:cxn>
              <a:cxn ang="0">
                <a:pos x="10" y="33"/>
              </a:cxn>
              <a:cxn ang="0">
                <a:pos x="15" y="37"/>
              </a:cxn>
              <a:cxn ang="0">
                <a:pos x="21" y="41"/>
              </a:cxn>
              <a:cxn ang="0">
                <a:pos x="27" y="44"/>
              </a:cxn>
              <a:cxn ang="0">
                <a:pos x="35" y="46"/>
              </a:cxn>
              <a:cxn ang="0">
                <a:pos x="43" y="48"/>
              </a:cxn>
              <a:cxn ang="0">
                <a:pos x="51" y="49"/>
              </a:cxn>
              <a:cxn ang="0">
                <a:pos x="67" y="50"/>
              </a:cxn>
              <a:cxn ang="0">
                <a:pos x="85" y="51"/>
              </a:cxn>
              <a:cxn ang="0">
                <a:pos x="102" y="52"/>
              </a:cxn>
              <a:cxn ang="0">
                <a:pos x="120" y="56"/>
              </a:cxn>
              <a:cxn ang="0">
                <a:pos x="120" y="37"/>
              </a:cxn>
              <a:cxn ang="0">
                <a:pos x="111" y="34"/>
              </a:cxn>
              <a:cxn ang="0">
                <a:pos x="102" y="30"/>
              </a:cxn>
              <a:cxn ang="0">
                <a:pos x="94" y="24"/>
              </a:cxn>
              <a:cxn ang="0">
                <a:pos x="88" y="18"/>
              </a:cxn>
              <a:cxn ang="0">
                <a:pos x="81" y="13"/>
              </a:cxn>
              <a:cxn ang="0">
                <a:pos x="75" y="7"/>
              </a:cxn>
              <a:cxn ang="0">
                <a:pos x="67" y="3"/>
              </a:cxn>
              <a:cxn ang="0">
                <a:pos x="60" y="0"/>
              </a:cxn>
              <a:cxn ang="0">
                <a:pos x="55" y="1"/>
              </a:cxn>
              <a:cxn ang="0">
                <a:pos x="48" y="3"/>
              </a:cxn>
              <a:cxn ang="0">
                <a:pos x="41" y="6"/>
              </a:cxn>
              <a:cxn ang="0">
                <a:pos x="33" y="9"/>
              </a:cxn>
              <a:cxn ang="0">
                <a:pos x="24" y="13"/>
              </a:cxn>
              <a:cxn ang="0">
                <a:pos x="16" y="15"/>
              </a:cxn>
              <a:cxn ang="0">
                <a:pos x="8" y="18"/>
              </a:cxn>
              <a:cxn ang="0">
                <a:pos x="0" y="18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322776" y="3253904"/>
            <a:ext cx="250825" cy="109539"/>
          </a:xfrm>
          <a:custGeom>
            <a:avLst/>
            <a:gdLst/>
            <a:ahLst/>
            <a:cxnLst>
              <a:cxn ang="0">
                <a:pos x="127" y="1"/>
              </a:cxn>
              <a:cxn ang="0">
                <a:pos x="95" y="6"/>
              </a:cxn>
              <a:cxn ang="0">
                <a:pos x="66" y="16"/>
              </a:cxn>
              <a:cxn ang="0">
                <a:pos x="43" y="26"/>
              </a:cxn>
              <a:cxn ang="0">
                <a:pos x="30" y="35"/>
              </a:cxn>
              <a:cxn ang="0">
                <a:pos x="16" y="51"/>
              </a:cxn>
              <a:cxn ang="0">
                <a:pos x="4" y="71"/>
              </a:cxn>
              <a:cxn ang="0">
                <a:pos x="0" y="82"/>
              </a:cxn>
              <a:cxn ang="0">
                <a:pos x="1" y="86"/>
              </a:cxn>
              <a:cxn ang="0">
                <a:pos x="13" y="86"/>
              </a:cxn>
              <a:cxn ang="0">
                <a:pos x="29" y="83"/>
              </a:cxn>
              <a:cxn ang="0">
                <a:pos x="52" y="75"/>
              </a:cxn>
              <a:cxn ang="0">
                <a:pos x="80" y="58"/>
              </a:cxn>
              <a:cxn ang="0">
                <a:pos x="102" y="46"/>
              </a:cxn>
              <a:cxn ang="0">
                <a:pos x="119" y="40"/>
              </a:cxn>
              <a:cxn ang="0">
                <a:pos x="175" y="37"/>
              </a:cxn>
              <a:cxn ang="0">
                <a:pos x="176" y="48"/>
              </a:cxn>
              <a:cxn ang="0">
                <a:pos x="180" y="55"/>
              </a:cxn>
              <a:cxn ang="0">
                <a:pos x="184" y="59"/>
              </a:cxn>
              <a:cxn ang="0">
                <a:pos x="190" y="61"/>
              </a:cxn>
              <a:cxn ang="0">
                <a:pos x="229" y="61"/>
              </a:cxn>
              <a:cxn ang="0">
                <a:pos x="269" y="78"/>
              </a:cxn>
              <a:cxn ang="0">
                <a:pos x="302" y="95"/>
              </a:cxn>
              <a:cxn ang="0">
                <a:pos x="336" y="111"/>
              </a:cxn>
              <a:cxn ang="0">
                <a:pos x="375" y="123"/>
              </a:cxn>
              <a:cxn ang="0">
                <a:pos x="376" y="134"/>
              </a:cxn>
              <a:cxn ang="0">
                <a:pos x="382" y="142"/>
              </a:cxn>
              <a:cxn ang="0">
                <a:pos x="396" y="152"/>
              </a:cxn>
              <a:cxn ang="0">
                <a:pos x="428" y="166"/>
              </a:cxn>
              <a:cxn ang="0">
                <a:pos x="402" y="191"/>
              </a:cxn>
              <a:cxn ang="0">
                <a:pos x="407" y="197"/>
              </a:cxn>
              <a:cxn ang="0">
                <a:pos x="414" y="201"/>
              </a:cxn>
              <a:cxn ang="0">
                <a:pos x="429" y="204"/>
              </a:cxn>
              <a:cxn ang="0">
                <a:pos x="461" y="204"/>
              </a:cxn>
              <a:cxn ang="0">
                <a:pos x="555" y="189"/>
              </a:cxn>
              <a:cxn ang="0">
                <a:pos x="559" y="183"/>
              </a:cxn>
              <a:cxn ang="0">
                <a:pos x="565" y="177"/>
              </a:cxn>
              <a:cxn ang="0">
                <a:pos x="572" y="173"/>
              </a:cxn>
              <a:cxn ang="0">
                <a:pos x="574" y="161"/>
              </a:cxn>
              <a:cxn ang="0">
                <a:pos x="561" y="153"/>
              </a:cxn>
              <a:cxn ang="0">
                <a:pos x="532" y="148"/>
              </a:cxn>
              <a:cxn ang="0">
                <a:pos x="504" y="138"/>
              </a:cxn>
              <a:cxn ang="0">
                <a:pos x="475" y="124"/>
              </a:cxn>
              <a:cxn ang="0">
                <a:pos x="433" y="100"/>
              </a:cxn>
              <a:cxn ang="0">
                <a:pos x="383" y="68"/>
              </a:cxn>
              <a:cxn ang="0">
                <a:pos x="358" y="54"/>
              </a:cxn>
              <a:cxn ang="0">
                <a:pos x="348" y="52"/>
              </a:cxn>
              <a:cxn ang="0">
                <a:pos x="330" y="52"/>
              </a:cxn>
              <a:cxn ang="0">
                <a:pos x="312" y="51"/>
              </a:cxn>
              <a:cxn ang="0">
                <a:pos x="302" y="49"/>
              </a:cxn>
              <a:cxn ang="0">
                <a:pos x="294" y="43"/>
              </a:cxn>
              <a:cxn ang="0">
                <a:pos x="290" y="32"/>
              </a:cxn>
              <a:cxn ang="0">
                <a:pos x="142" y="0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627561" y="3357092"/>
            <a:ext cx="88900" cy="69851"/>
          </a:xfrm>
          <a:custGeom>
            <a:avLst/>
            <a:gdLst/>
            <a:ahLst/>
            <a:cxnLst>
              <a:cxn ang="0">
                <a:pos x="41" y="129"/>
              </a:cxn>
              <a:cxn ang="0">
                <a:pos x="50" y="121"/>
              </a:cxn>
              <a:cxn ang="0">
                <a:pos x="60" y="115"/>
              </a:cxn>
              <a:cxn ang="0">
                <a:pos x="70" y="110"/>
              </a:cxn>
              <a:cxn ang="0">
                <a:pos x="81" y="105"/>
              </a:cxn>
              <a:cxn ang="0">
                <a:pos x="105" y="99"/>
              </a:cxn>
              <a:cxn ang="0">
                <a:pos x="129" y="92"/>
              </a:cxn>
              <a:cxn ang="0">
                <a:pos x="152" y="87"/>
              </a:cxn>
              <a:cxn ang="0">
                <a:pos x="173" y="81"/>
              </a:cxn>
              <a:cxn ang="0">
                <a:pos x="182" y="77"/>
              </a:cxn>
              <a:cxn ang="0">
                <a:pos x="191" y="73"/>
              </a:cxn>
              <a:cxn ang="0">
                <a:pos x="200" y="67"/>
              </a:cxn>
              <a:cxn ang="0">
                <a:pos x="207" y="61"/>
              </a:cxn>
              <a:cxn ang="0">
                <a:pos x="198" y="54"/>
              </a:cxn>
              <a:cxn ang="0">
                <a:pos x="188" y="47"/>
              </a:cxn>
              <a:cxn ang="0">
                <a:pos x="179" y="42"/>
              </a:cxn>
              <a:cxn ang="0">
                <a:pos x="169" y="36"/>
              </a:cxn>
              <a:cxn ang="0">
                <a:pos x="150" y="29"/>
              </a:cxn>
              <a:cxn ang="0">
                <a:pos x="129" y="23"/>
              </a:cxn>
              <a:cxn ang="0">
                <a:pos x="107" y="18"/>
              </a:cxn>
              <a:cxn ang="0">
                <a:pos x="85" y="13"/>
              </a:cxn>
              <a:cxn ang="0">
                <a:pos x="63" y="7"/>
              </a:cxn>
              <a:cxn ang="0">
                <a:pos x="41" y="0"/>
              </a:cxn>
              <a:cxn ang="0">
                <a:pos x="0" y="0"/>
              </a:cxn>
              <a:cxn ang="0">
                <a:pos x="1" y="6"/>
              </a:cxn>
              <a:cxn ang="0">
                <a:pos x="2" y="13"/>
              </a:cxn>
              <a:cxn ang="0">
                <a:pos x="4" y="19"/>
              </a:cxn>
              <a:cxn ang="0">
                <a:pos x="6" y="25"/>
              </a:cxn>
              <a:cxn ang="0">
                <a:pos x="10" y="35"/>
              </a:cxn>
              <a:cxn ang="0">
                <a:pos x="13" y="46"/>
              </a:cxn>
              <a:cxn ang="0">
                <a:pos x="17" y="54"/>
              </a:cxn>
              <a:cxn ang="0">
                <a:pos x="18" y="62"/>
              </a:cxn>
              <a:cxn ang="0">
                <a:pos x="17" y="65"/>
              </a:cxn>
              <a:cxn ang="0">
                <a:pos x="14" y="68"/>
              </a:cxn>
              <a:cxn ang="0">
                <a:pos x="11" y="71"/>
              </a:cxn>
              <a:cxn ang="0">
                <a:pos x="7" y="73"/>
              </a:cxn>
              <a:cxn ang="0">
                <a:pos x="0" y="104"/>
              </a:cxn>
              <a:cxn ang="0">
                <a:pos x="4" y="106"/>
              </a:cxn>
              <a:cxn ang="0">
                <a:pos x="13" y="110"/>
              </a:cxn>
              <a:cxn ang="0">
                <a:pos x="19" y="113"/>
              </a:cxn>
              <a:cxn ang="0">
                <a:pos x="25" y="117"/>
              </a:cxn>
              <a:cxn ang="0">
                <a:pos x="33" y="122"/>
              </a:cxn>
              <a:cxn ang="0">
                <a:pos x="41" y="129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7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195761" y="3417445"/>
            <a:ext cx="33338" cy="84137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69" y="4"/>
              </a:cxn>
              <a:cxn ang="0">
                <a:pos x="67" y="9"/>
              </a:cxn>
              <a:cxn ang="0">
                <a:pos x="66" y="13"/>
              </a:cxn>
              <a:cxn ang="0">
                <a:pos x="66" y="18"/>
              </a:cxn>
              <a:cxn ang="0">
                <a:pos x="66" y="27"/>
              </a:cxn>
              <a:cxn ang="0">
                <a:pos x="66" y="37"/>
              </a:cxn>
              <a:cxn ang="0">
                <a:pos x="69" y="43"/>
              </a:cxn>
              <a:cxn ang="0">
                <a:pos x="71" y="50"/>
              </a:cxn>
              <a:cxn ang="0">
                <a:pos x="71" y="57"/>
              </a:cxn>
              <a:cxn ang="0">
                <a:pos x="71" y="65"/>
              </a:cxn>
              <a:cxn ang="0">
                <a:pos x="69" y="73"/>
              </a:cxn>
              <a:cxn ang="0">
                <a:pos x="67" y="82"/>
              </a:cxn>
              <a:cxn ang="0">
                <a:pos x="65" y="91"/>
              </a:cxn>
              <a:cxn ang="0">
                <a:pos x="61" y="100"/>
              </a:cxn>
              <a:cxn ang="0">
                <a:pos x="53" y="116"/>
              </a:cxn>
              <a:cxn ang="0">
                <a:pos x="44" y="131"/>
              </a:cxn>
              <a:cxn ang="0">
                <a:pos x="34" y="144"/>
              </a:cxn>
              <a:cxn ang="0">
                <a:pos x="26" y="154"/>
              </a:cxn>
              <a:cxn ang="0">
                <a:pos x="26" y="141"/>
              </a:cxn>
              <a:cxn ang="0">
                <a:pos x="15" y="144"/>
              </a:cxn>
              <a:cxn ang="0">
                <a:pos x="0" y="148"/>
              </a:cxn>
              <a:cxn ang="0">
                <a:pos x="3" y="129"/>
              </a:cxn>
              <a:cxn ang="0">
                <a:pos x="8" y="105"/>
              </a:cxn>
              <a:cxn ang="0">
                <a:pos x="9" y="92"/>
              </a:cxn>
              <a:cxn ang="0">
                <a:pos x="12" y="77"/>
              </a:cxn>
              <a:cxn ang="0">
                <a:pos x="15" y="63"/>
              </a:cxn>
              <a:cxn ang="0">
                <a:pos x="20" y="49"/>
              </a:cxn>
              <a:cxn ang="0">
                <a:pos x="20" y="0"/>
              </a:cxn>
              <a:cxn ang="0">
                <a:pos x="25" y="0"/>
              </a:cxn>
              <a:cxn ang="0">
                <a:pos x="38" y="0"/>
              </a:cxn>
              <a:cxn ang="0">
                <a:pos x="56" y="0"/>
              </a:cxn>
              <a:cxn ang="0">
                <a:pos x="72" y="0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8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116391" y="3417416"/>
            <a:ext cx="93663" cy="146051"/>
          </a:xfrm>
          <a:custGeom>
            <a:avLst/>
            <a:gdLst/>
            <a:ahLst/>
            <a:cxnLst>
              <a:cxn ang="0">
                <a:pos x="8" y="207"/>
              </a:cxn>
              <a:cxn ang="0">
                <a:pos x="12" y="181"/>
              </a:cxn>
              <a:cxn ang="0">
                <a:pos x="24" y="148"/>
              </a:cxn>
              <a:cxn ang="0">
                <a:pos x="35" y="118"/>
              </a:cxn>
              <a:cxn ang="0">
                <a:pos x="44" y="112"/>
              </a:cxn>
              <a:cxn ang="0">
                <a:pos x="65" y="111"/>
              </a:cxn>
              <a:cxn ang="0">
                <a:pos x="89" y="111"/>
              </a:cxn>
              <a:cxn ang="0">
                <a:pos x="106" y="110"/>
              </a:cxn>
              <a:cxn ang="0">
                <a:pos x="120" y="105"/>
              </a:cxn>
              <a:cxn ang="0">
                <a:pos x="130" y="94"/>
              </a:cxn>
              <a:cxn ang="0">
                <a:pos x="113" y="73"/>
              </a:cxn>
              <a:cxn ang="0">
                <a:pos x="86" y="58"/>
              </a:cxn>
              <a:cxn ang="0">
                <a:pos x="77" y="49"/>
              </a:cxn>
              <a:cxn ang="0">
                <a:pos x="74" y="41"/>
              </a:cxn>
              <a:cxn ang="0">
                <a:pos x="75" y="34"/>
              </a:cxn>
              <a:cxn ang="0">
                <a:pos x="82" y="28"/>
              </a:cxn>
              <a:cxn ang="0">
                <a:pos x="101" y="19"/>
              </a:cxn>
              <a:cxn ang="0">
                <a:pos x="150" y="3"/>
              </a:cxn>
              <a:cxn ang="0">
                <a:pos x="180" y="0"/>
              </a:cxn>
              <a:cxn ang="0">
                <a:pos x="198" y="0"/>
              </a:cxn>
              <a:cxn ang="0">
                <a:pos x="207" y="49"/>
              </a:cxn>
              <a:cxn ang="0">
                <a:pos x="199" y="77"/>
              </a:cxn>
              <a:cxn ang="0">
                <a:pos x="195" y="105"/>
              </a:cxn>
              <a:cxn ang="0">
                <a:pos x="187" y="148"/>
              </a:cxn>
              <a:cxn ang="0">
                <a:pos x="213" y="154"/>
              </a:cxn>
              <a:cxn ang="0">
                <a:pos x="214" y="166"/>
              </a:cxn>
              <a:cxn ang="0">
                <a:pos x="210" y="174"/>
              </a:cxn>
              <a:cxn ang="0">
                <a:pos x="207" y="177"/>
              </a:cxn>
              <a:cxn ang="0">
                <a:pos x="200" y="178"/>
              </a:cxn>
              <a:cxn ang="0">
                <a:pos x="192" y="196"/>
              </a:cxn>
              <a:cxn ang="0">
                <a:pos x="181" y="214"/>
              </a:cxn>
              <a:cxn ang="0">
                <a:pos x="155" y="243"/>
              </a:cxn>
              <a:cxn ang="0">
                <a:pos x="120" y="271"/>
              </a:cxn>
              <a:cxn ang="0">
                <a:pos x="87" y="261"/>
              </a:cxn>
              <a:cxn ang="0">
                <a:pos x="55" y="248"/>
              </a:cxn>
              <a:cxn ang="0">
                <a:pos x="0" y="22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9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164011" y="3528542"/>
            <a:ext cx="71438" cy="57151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83" y="14"/>
              </a:cxn>
              <a:cxn ang="0">
                <a:pos x="104" y="24"/>
              </a:cxn>
              <a:cxn ang="0">
                <a:pos x="115" y="28"/>
              </a:cxn>
              <a:cxn ang="0">
                <a:pos x="126" y="31"/>
              </a:cxn>
              <a:cxn ang="0">
                <a:pos x="133" y="32"/>
              </a:cxn>
              <a:cxn ang="0">
                <a:pos x="139" y="32"/>
              </a:cxn>
              <a:cxn ang="0">
                <a:pos x="146" y="31"/>
              </a:cxn>
              <a:cxn ang="0">
                <a:pos x="153" y="30"/>
              </a:cxn>
              <a:cxn ang="0">
                <a:pos x="153" y="56"/>
              </a:cxn>
              <a:cxn ang="0">
                <a:pos x="149" y="60"/>
              </a:cxn>
              <a:cxn ang="0">
                <a:pos x="145" y="65"/>
              </a:cxn>
              <a:cxn ang="0">
                <a:pos x="138" y="69"/>
              </a:cxn>
              <a:cxn ang="0">
                <a:pos x="132" y="72"/>
              </a:cxn>
              <a:cxn ang="0">
                <a:pos x="125" y="75"/>
              </a:cxn>
              <a:cxn ang="0">
                <a:pos x="119" y="78"/>
              </a:cxn>
              <a:cxn ang="0">
                <a:pos x="112" y="79"/>
              </a:cxn>
              <a:cxn ang="0">
                <a:pos x="106" y="80"/>
              </a:cxn>
              <a:cxn ang="0">
                <a:pos x="90" y="74"/>
              </a:cxn>
              <a:cxn ang="0">
                <a:pos x="76" y="71"/>
              </a:cxn>
              <a:cxn ang="0">
                <a:pos x="63" y="69"/>
              </a:cxn>
              <a:cxn ang="0">
                <a:pos x="50" y="69"/>
              </a:cxn>
              <a:cxn ang="0">
                <a:pos x="39" y="68"/>
              </a:cxn>
              <a:cxn ang="0">
                <a:pos x="27" y="67"/>
              </a:cxn>
              <a:cxn ang="0">
                <a:pos x="14" y="65"/>
              </a:cxn>
              <a:cxn ang="0">
                <a:pos x="0" y="62"/>
              </a:cxn>
              <a:cxn ang="0">
                <a:pos x="7" y="58"/>
              </a:cxn>
              <a:cxn ang="0">
                <a:pos x="23" y="45"/>
              </a:cxn>
              <a:cxn ang="0">
                <a:pos x="34" y="37"/>
              </a:cxn>
              <a:cxn ang="0">
                <a:pos x="45" y="28"/>
              </a:cxn>
              <a:cxn ang="0">
                <a:pos x="56" y="17"/>
              </a:cxn>
              <a:cxn ang="0">
                <a:pos x="67" y="6"/>
              </a:cxn>
              <a:cxn ang="0">
                <a:pos x="60" y="0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0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195776" y="3490443"/>
            <a:ext cx="142875" cy="87312"/>
          </a:xfrm>
          <a:custGeom>
            <a:avLst/>
            <a:gdLst/>
            <a:ahLst/>
            <a:cxnLst>
              <a:cxn ang="0">
                <a:pos x="0" y="77"/>
              </a:cxn>
              <a:cxn ang="0">
                <a:pos x="44" y="101"/>
              </a:cxn>
              <a:cxn ang="0">
                <a:pos x="66" y="108"/>
              </a:cxn>
              <a:cxn ang="0">
                <a:pos x="79" y="109"/>
              </a:cxn>
              <a:cxn ang="0">
                <a:pos x="93" y="107"/>
              </a:cxn>
              <a:cxn ang="0">
                <a:pos x="90" y="144"/>
              </a:cxn>
              <a:cxn ang="0">
                <a:pos x="95" y="154"/>
              </a:cxn>
              <a:cxn ang="0">
                <a:pos x="99" y="163"/>
              </a:cxn>
              <a:cxn ang="0">
                <a:pos x="107" y="168"/>
              </a:cxn>
              <a:cxn ang="0">
                <a:pos x="117" y="169"/>
              </a:cxn>
              <a:cxn ang="0">
                <a:pos x="123" y="166"/>
              </a:cxn>
              <a:cxn ang="0">
                <a:pos x="132" y="157"/>
              </a:cxn>
              <a:cxn ang="0">
                <a:pos x="146" y="136"/>
              </a:cxn>
              <a:cxn ang="0">
                <a:pos x="174" y="115"/>
              </a:cxn>
              <a:cxn ang="0">
                <a:pos x="214" y="96"/>
              </a:cxn>
              <a:cxn ang="0">
                <a:pos x="256" y="80"/>
              </a:cxn>
              <a:cxn ang="0">
                <a:pos x="304" y="65"/>
              </a:cxn>
              <a:cxn ang="0">
                <a:pos x="332" y="46"/>
              </a:cxn>
              <a:cxn ang="0">
                <a:pos x="332" y="22"/>
              </a:cxn>
              <a:cxn ang="0">
                <a:pos x="320" y="2"/>
              </a:cxn>
              <a:cxn ang="0">
                <a:pos x="283" y="1"/>
              </a:cxn>
              <a:cxn ang="0">
                <a:pos x="234" y="0"/>
              </a:cxn>
              <a:cxn ang="0">
                <a:pos x="180" y="1"/>
              </a:cxn>
              <a:cxn ang="0">
                <a:pos x="131" y="4"/>
              </a:cxn>
              <a:cxn ang="0">
                <a:pos x="90" y="10"/>
              </a:cxn>
              <a:cxn ang="0">
                <a:pos x="59" y="19"/>
              </a:cxn>
              <a:cxn ang="0">
                <a:pos x="42" y="22"/>
              </a:cxn>
              <a:cxn ang="0">
                <a:pos x="35" y="23"/>
              </a:cxn>
              <a:cxn ang="0">
                <a:pos x="34" y="26"/>
              </a:cxn>
              <a:cxn ang="0">
                <a:pos x="33" y="38"/>
              </a:cxn>
              <a:cxn ang="0">
                <a:pos x="29" y="44"/>
              </a:cxn>
              <a:cxn ang="0">
                <a:pos x="23" y="46"/>
              </a:cxn>
              <a:cxn ang="0">
                <a:pos x="19" y="55"/>
              </a:cxn>
              <a:cxn ang="0">
                <a:pos x="11" y="72"/>
              </a:cxn>
              <a:cxn ang="0">
                <a:pos x="7" y="83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1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213224" y="3520605"/>
            <a:ext cx="125412" cy="122239"/>
          </a:xfrm>
          <a:custGeom>
            <a:avLst/>
            <a:gdLst/>
            <a:ahLst/>
            <a:cxnLst>
              <a:cxn ang="0">
                <a:pos x="44" y="86"/>
              </a:cxn>
              <a:cxn ang="0">
                <a:pos x="49" y="96"/>
              </a:cxn>
              <a:cxn ang="0">
                <a:pos x="53" y="105"/>
              </a:cxn>
              <a:cxn ang="0">
                <a:pos x="61" y="110"/>
              </a:cxn>
              <a:cxn ang="0">
                <a:pos x="71" y="111"/>
              </a:cxn>
              <a:cxn ang="0">
                <a:pos x="77" y="108"/>
              </a:cxn>
              <a:cxn ang="0">
                <a:pos x="86" y="99"/>
              </a:cxn>
              <a:cxn ang="0">
                <a:pos x="100" y="78"/>
              </a:cxn>
              <a:cxn ang="0">
                <a:pos x="128" y="57"/>
              </a:cxn>
              <a:cxn ang="0">
                <a:pos x="168" y="38"/>
              </a:cxn>
              <a:cxn ang="0">
                <a:pos x="210" y="22"/>
              </a:cxn>
              <a:cxn ang="0">
                <a:pos x="258" y="7"/>
              </a:cxn>
              <a:cxn ang="0">
                <a:pos x="286" y="11"/>
              </a:cxn>
              <a:cxn ang="0">
                <a:pos x="282" y="32"/>
              </a:cxn>
              <a:cxn ang="0">
                <a:pos x="272" y="70"/>
              </a:cxn>
              <a:cxn ang="0">
                <a:pos x="254" y="128"/>
              </a:cxn>
              <a:cxn ang="0">
                <a:pos x="244" y="174"/>
              </a:cxn>
              <a:cxn ang="0">
                <a:pos x="240" y="206"/>
              </a:cxn>
              <a:cxn ang="0">
                <a:pos x="146" y="216"/>
              </a:cxn>
              <a:cxn ang="0">
                <a:pos x="138" y="218"/>
              </a:cxn>
              <a:cxn ang="0">
                <a:pos x="132" y="223"/>
              </a:cxn>
              <a:cxn ang="0">
                <a:pos x="127" y="235"/>
              </a:cxn>
              <a:cxn ang="0">
                <a:pos x="109" y="217"/>
              </a:cxn>
              <a:cxn ang="0">
                <a:pos x="94" y="199"/>
              </a:cxn>
              <a:cxn ang="0">
                <a:pos x="69" y="160"/>
              </a:cxn>
              <a:cxn ang="0">
                <a:pos x="55" y="142"/>
              </a:cxn>
              <a:cxn ang="0">
                <a:pos x="41" y="125"/>
              </a:cxn>
              <a:cxn ang="0">
                <a:pos x="22" y="110"/>
              </a:cxn>
              <a:cxn ang="0">
                <a:pos x="0" y="99"/>
              </a:cxn>
              <a:cxn ang="0">
                <a:pos x="13" y="97"/>
              </a:cxn>
              <a:cxn ang="0">
                <a:pos x="26" y="91"/>
              </a:cxn>
              <a:cxn ang="0">
                <a:pos x="39" y="84"/>
              </a:cxn>
              <a:cxn ang="0">
                <a:pos x="47" y="7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264026" y="3633318"/>
            <a:ext cx="84137" cy="100012"/>
          </a:xfrm>
          <a:custGeom>
            <a:avLst/>
            <a:gdLst/>
            <a:ahLst/>
            <a:cxnLst>
              <a:cxn ang="0">
                <a:pos x="188" y="185"/>
              </a:cxn>
              <a:cxn ang="0">
                <a:pos x="175" y="185"/>
              </a:cxn>
              <a:cxn ang="0">
                <a:pos x="158" y="185"/>
              </a:cxn>
              <a:cxn ang="0">
                <a:pos x="144" y="180"/>
              </a:cxn>
              <a:cxn ang="0">
                <a:pos x="136" y="173"/>
              </a:cxn>
              <a:cxn ang="0">
                <a:pos x="129" y="163"/>
              </a:cxn>
              <a:cxn ang="0">
                <a:pos x="120" y="147"/>
              </a:cxn>
              <a:cxn ang="0">
                <a:pos x="110" y="131"/>
              </a:cxn>
              <a:cxn ang="0">
                <a:pos x="99" y="121"/>
              </a:cxn>
              <a:cxn ang="0">
                <a:pos x="93" y="126"/>
              </a:cxn>
              <a:cxn ang="0">
                <a:pos x="90" y="135"/>
              </a:cxn>
              <a:cxn ang="0">
                <a:pos x="84" y="130"/>
              </a:cxn>
              <a:cxn ang="0">
                <a:pos x="72" y="113"/>
              </a:cxn>
              <a:cxn ang="0">
                <a:pos x="56" y="87"/>
              </a:cxn>
              <a:cxn ang="0">
                <a:pos x="41" y="67"/>
              </a:cxn>
              <a:cxn ang="0">
                <a:pos x="31" y="58"/>
              </a:cxn>
              <a:cxn ang="0">
                <a:pos x="26" y="60"/>
              </a:cxn>
              <a:cxn ang="0">
                <a:pos x="29" y="69"/>
              </a:cxn>
              <a:cxn ang="0">
                <a:pos x="34" y="78"/>
              </a:cxn>
              <a:cxn ang="0">
                <a:pos x="41" y="84"/>
              </a:cxn>
              <a:cxn ang="0">
                <a:pos x="46" y="105"/>
              </a:cxn>
              <a:cxn ang="0">
                <a:pos x="13" y="98"/>
              </a:cxn>
              <a:cxn ang="0">
                <a:pos x="4" y="84"/>
              </a:cxn>
              <a:cxn ang="0">
                <a:pos x="0" y="60"/>
              </a:cxn>
              <a:cxn ang="0">
                <a:pos x="0" y="38"/>
              </a:cxn>
              <a:cxn ang="0">
                <a:pos x="3" y="28"/>
              </a:cxn>
              <a:cxn ang="0">
                <a:pos x="8" y="22"/>
              </a:cxn>
              <a:cxn ang="0">
                <a:pos x="14" y="13"/>
              </a:cxn>
              <a:cxn ang="0">
                <a:pos x="20" y="4"/>
              </a:cxn>
              <a:cxn ang="0">
                <a:pos x="28" y="0"/>
              </a:cxn>
              <a:cxn ang="0">
                <a:pos x="126" y="6"/>
              </a:cxn>
              <a:cxn ang="0">
                <a:pos x="127" y="21"/>
              </a:cxn>
              <a:cxn ang="0">
                <a:pos x="130" y="37"/>
              </a:cxn>
              <a:cxn ang="0">
                <a:pos x="143" y="70"/>
              </a:cxn>
              <a:cxn ang="0">
                <a:pos x="165" y="102"/>
              </a:cxn>
              <a:cxn ang="0">
                <a:pos x="177" y="117"/>
              </a:cxn>
              <a:cxn ang="0">
                <a:pos x="192" y="130"/>
              </a:cxn>
              <a:cxn ang="0">
                <a:pos x="189" y="143"/>
              </a:cxn>
              <a:cxn ang="0">
                <a:pos x="189" y="156"/>
              </a:cxn>
              <a:cxn ang="0">
                <a:pos x="192" y="191"/>
              </a:cxn>
              <a:cxn ang="0">
                <a:pos x="205" y="185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3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345001" y="3687319"/>
            <a:ext cx="142875" cy="79375"/>
          </a:xfrm>
          <a:custGeom>
            <a:avLst/>
            <a:gdLst/>
            <a:ahLst/>
            <a:cxnLst>
              <a:cxn ang="0">
                <a:pos x="3" y="58"/>
              </a:cxn>
              <a:cxn ang="0">
                <a:pos x="0" y="42"/>
              </a:cxn>
              <a:cxn ang="0">
                <a:pos x="2" y="31"/>
              </a:cxn>
              <a:cxn ang="0">
                <a:pos x="17" y="33"/>
              </a:cxn>
              <a:cxn ang="0">
                <a:pos x="36" y="41"/>
              </a:cxn>
              <a:cxn ang="0">
                <a:pos x="49" y="43"/>
              </a:cxn>
              <a:cxn ang="0">
                <a:pos x="67" y="43"/>
              </a:cxn>
              <a:cxn ang="0">
                <a:pos x="86" y="39"/>
              </a:cxn>
              <a:cxn ang="0">
                <a:pos x="110" y="30"/>
              </a:cxn>
              <a:cxn ang="0">
                <a:pos x="140" y="13"/>
              </a:cxn>
              <a:cxn ang="0">
                <a:pos x="162" y="4"/>
              </a:cxn>
              <a:cxn ang="0">
                <a:pos x="179" y="0"/>
              </a:cxn>
              <a:cxn ang="0">
                <a:pos x="203" y="0"/>
              </a:cxn>
              <a:cxn ang="0">
                <a:pos x="224" y="6"/>
              </a:cxn>
              <a:cxn ang="0">
                <a:pos x="243" y="15"/>
              </a:cxn>
              <a:cxn ang="0">
                <a:pos x="259" y="28"/>
              </a:cxn>
              <a:cxn ang="0">
                <a:pos x="280" y="46"/>
              </a:cxn>
              <a:cxn ang="0">
                <a:pos x="302" y="61"/>
              </a:cxn>
              <a:cxn ang="0">
                <a:pos x="319" y="67"/>
              </a:cxn>
              <a:cxn ang="0">
                <a:pos x="313" y="82"/>
              </a:cxn>
              <a:cxn ang="0">
                <a:pos x="293" y="106"/>
              </a:cxn>
              <a:cxn ang="0">
                <a:pos x="277" y="138"/>
              </a:cxn>
              <a:cxn ang="0">
                <a:pos x="265" y="153"/>
              </a:cxn>
              <a:cxn ang="0">
                <a:pos x="253" y="146"/>
              </a:cxn>
              <a:cxn ang="0">
                <a:pos x="240" y="136"/>
              </a:cxn>
              <a:cxn ang="0">
                <a:pos x="230" y="126"/>
              </a:cxn>
              <a:cxn ang="0">
                <a:pos x="230" y="114"/>
              </a:cxn>
              <a:cxn ang="0">
                <a:pos x="235" y="100"/>
              </a:cxn>
              <a:cxn ang="0">
                <a:pos x="249" y="86"/>
              </a:cxn>
              <a:cxn ang="0">
                <a:pos x="233" y="68"/>
              </a:cxn>
              <a:cxn ang="0">
                <a:pos x="207" y="55"/>
              </a:cxn>
              <a:cxn ang="0">
                <a:pos x="195" y="41"/>
              </a:cxn>
              <a:cxn ang="0">
                <a:pos x="179" y="34"/>
              </a:cxn>
              <a:cxn ang="0">
                <a:pos x="163" y="41"/>
              </a:cxn>
              <a:cxn ang="0">
                <a:pos x="150" y="50"/>
              </a:cxn>
              <a:cxn ang="0">
                <a:pos x="140" y="61"/>
              </a:cxn>
              <a:cxn ang="0">
                <a:pos x="132" y="74"/>
              </a:cxn>
              <a:cxn ang="0">
                <a:pos x="128" y="88"/>
              </a:cxn>
              <a:cxn ang="0">
                <a:pos x="123" y="109"/>
              </a:cxn>
              <a:cxn ang="0">
                <a:pos x="122" y="125"/>
              </a:cxn>
              <a:cxn ang="0">
                <a:pos x="118" y="129"/>
              </a:cxn>
              <a:cxn ang="0">
                <a:pos x="108" y="135"/>
              </a:cxn>
              <a:cxn ang="0">
                <a:pos x="96" y="135"/>
              </a:cxn>
              <a:cxn ang="0">
                <a:pos x="83" y="129"/>
              </a:cxn>
              <a:cxn ang="0">
                <a:pos x="66" y="116"/>
              </a:cxn>
              <a:cxn ang="0">
                <a:pos x="48" y="94"/>
              </a:cxn>
              <a:cxn ang="0">
                <a:pos x="33" y="80"/>
              </a:cxn>
              <a:cxn ang="0">
                <a:pos x="22" y="74"/>
              </a:cxn>
              <a:cxn ang="0">
                <a:pos x="3" y="73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3026024" y="4941445"/>
            <a:ext cx="133350" cy="155575"/>
          </a:xfrm>
          <a:custGeom>
            <a:avLst/>
            <a:gdLst/>
            <a:ahLst/>
            <a:cxnLst>
              <a:cxn ang="0">
                <a:pos x="297" y="181"/>
              </a:cxn>
              <a:cxn ang="0">
                <a:pos x="296" y="185"/>
              </a:cxn>
              <a:cxn ang="0">
                <a:pos x="291" y="194"/>
              </a:cxn>
              <a:cxn ang="0">
                <a:pos x="282" y="199"/>
              </a:cxn>
              <a:cxn ang="0">
                <a:pos x="272" y="201"/>
              </a:cxn>
              <a:cxn ang="0">
                <a:pos x="263" y="207"/>
              </a:cxn>
              <a:cxn ang="0">
                <a:pos x="253" y="229"/>
              </a:cxn>
              <a:cxn ang="0">
                <a:pos x="242" y="254"/>
              </a:cxn>
              <a:cxn ang="0">
                <a:pos x="231" y="267"/>
              </a:cxn>
              <a:cxn ang="0">
                <a:pos x="221" y="273"/>
              </a:cxn>
              <a:cxn ang="0">
                <a:pos x="200" y="281"/>
              </a:cxn>
              <a:cxn ang="0">
                <a:pos x="164" y="290"/>
              </a:cxn>
              <a:cxn ang="0">
                <a:pos x="139" y="293"/>
              </a:cxn>
              <a:cxn ang="0">
                <a:pos x="123" y="293"/>
              </a:cxn>
              <a:cxn ang="0">
                <a:pos x="106" y="290"/>
              </a:cxn>
              <a:cxn ang="0">
                <a:pos x="92" y="286"/>
              </a:cxn>
              <a:cxn ang="0">
                <a:pos x="80" y="278"/>
              </a:cxn>
              <a:cxn ang="0">
                <a:pos x="71" y="268"/>
              </a:cxn>
              <a:cxn ang="0">
                <a:pos x="1" y="236"/>
              </a:cxn>
              <a:cxn ang="0">
                <a:pos x="0" y="88"/>
              </a:cxn>
              <a:cxn ang="0">
                <a:pos x="1" y="49"/>
              </a:cxn>
              <a:cxn ang="0">
                <a:pos x="4" y="35"/>
              </a:cxn>
              <a:cxn ang="0">
                <a:pos x="11" y="21"/>
              </a:cxn>
              <a:cxn ang="0">
                <a:pos x="20" y="8"/>
              </a:cxn>
              <a:cxn ang="0">
                <a:pos x="41" y="2"/>
              </a:cxn>
              <a:cxn ang="0">
                <a:pos x="53" y="0"/>
              </a:cxn>
              <a:cxn ang="0">
                <a:pos x="72" y="6"/>
              </a:cxn>
              <a:cxn ang="0">
                <a:pos x="80" y="7"/>
              </a:cxn>
              <a:cxn ang="0">
                <a:pos x="84" y="4"/>
              </a:cxn>
              <a:cxn ang="0">
                <a:pos x="87" y="5"/>
              </a:cxn>
              <a:cxn ang="0">
                <a:pos x="90" y="11"/>
              </a:cxn>
              <a:cxn ang="0">
                <a:pos x="99" y="19"/>
              </a:cxn>
              <a:cxn ang="0">
                <a:pos x="121" y="31"/>
              </a:cxn>
              <a:cxn ang="0">
                <a:pos x="148" y="41"/>
              </a:cxn>
              <a:cxn ang="0">
                <a:pos x="182" y="59"/>
              </a:cxn>
              <a:cxn ang="0">
                <a:pos x="210" y="79"/>
              </a:cxn>
              <a:cxn ang="0">
                <a:pos x="241" y="102"/>
              </a:cxn>
              <a:cxn ang="0">
                <a:pos x="261" y="117"/>
              </a:cxn>
              <a:cxn ang="0">
                <a:pos x="266" y="124"/>
              </a:cxn>
              <a:cxn ang="0">
                <a:pos x="280" y="135"/>
              </a:cxn>
              <a:cxn ang="0">
                <a:pos x="299" y="151"/>
              </a:cxn>
              <a:cxn ang="0">
                <a:pos x="306" y="161"/>
              </a:cxn>
              <a:cxn ang="0">
                <a:pos x="304" y="166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572256" y="1558481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6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499227" y="1788642"/>
            <a:ext cx="449262" cy="361951"/>
          </a:xfrm>
          <a:custGeom>
            <a:avLst/>
            <a:gdLst/>
            <a:ahLst/>
            <a:cxnLst>
              <a:cxn ang="0">
                <a:pos x="240" y="622"/>
              </a:cxn>
              <a:cxn ang="0">
                <a:pos x="155" y="683"/>
              </a:cxn>
              <a:cxn ang="0">
                <a:pos x="32" y="654"/>
              </a:cxn>
              <a:cxn ang="0">
                <a:pos x="67" y="634"/>
              </a:cxn>
              <a:cxn ang="0">
                <a:pos x="18" y="596"/>
              </a:cxn>
              <a:cxn ang="0">
                <a:pos x="44" y="595"/>
              </a:cxn>
              <a:cxn ang="0">
                <a:pos x="67" y="567"/>
              </a:cxn>
              <a:cxn ang="0">
                <a:pos x="8" y="546"/>
              </a:cxn>
              <a:cxn ang="0">
                <a:pos x="74" y="523"/>
              </a:cxn>
              <a:cxn ang="0">
                <a:pos x="0" y="499"/>
              </a:cxn>
              <a:cxn ang="0">
                <a:pos x="20" y="456"/>
              </a:cxn>
              <a:cxn ang="0">
                <a:pos x="37" y="461"/>
              </a:cxn>
              <a:cxn ang="0">
                <a:pos x="77" y="449"/>
              </a:cxn>
              <a:cxn ang="0">
                <a:pos x="92" y="424"/>
              </a:cxn>
              <a:cxn ang="0">
                <a:pos x="130" y="409"/>
              </a:cxn>
              <a:cxn ang="0">
                <a:pos x="220" y="382"/>
              </a:cxn>
              <a:cxn ang="0">
                <a:pos x="227" y="339"/>
              </a:cxn>
              <a:cxn ang="0">
                <a:pos x="283" y="325"/>
              </a:cxn>
              <a:cxn ang="0">
                <a:pos x="282" y="310"/>
              </a:cxn>
              <a:cxn ang="0">
                <a:pos x="298" y="285"/>
              </a:cxn>
              <a:cxn ang="0">
                <a:pos x="335" y="243"/>
              </a:cxn>
              <a:cxn ang="0">
                <a:pos x="343" y="226"/>
              </a:cxn>
              <a:cxn ang="0">
                <a:pos x="390" y="200"/>
              </a:cxn>
              <a:cxn ang="0">
                <a:pos x="387" y="157"/>
              </a:cxn>
              <a:cxn ang="0">
                <a:pos x="373" y="142"/>
              </a:cxn>
              <a:cxn ang="0">
                <a:pos x="334" y="154"/>
              </a:cxn>
              <a:cxn ang="0">
                <a:pos x="390" y="103"/>
              </a:cxn>
              <a:cxn ang="0">
                <a:pos x="411" y="96"/>
              </a:cxn>
              <a:cxn ang="0">
                <a:pos x="463" y="114"/>
              </a:cxn>
              <a:cxn ang="0">
                <a:pos x="466" y="91"/>
              </a:cxn>
              <a:cxn ang="0">
                <a:pos x="558" y="61"/>
              </a:cxn>
              <a:cxn ang="0">
                <a:pos x="591" y="63"/>
              </a:cxn>
              <a:cxn ang="0">
                <a:pos x="645" y="55"/>
              </a:cxn>
              <a:cxn ang="0">
                <a:pos x="645" y="33"/>
              </a:cxn>
              <a:cxn ang="0">
                <a:pos x="699" y="13"/>
              </a:cxn>
              <a:cxn ang="0">
                <a:pos x="705" y="29"/>
              </a:cxn>
              <a:cxn ang="0">
                <a:pos x="712" y="40"/>
              </a:cxn>
              <a:cxn ang="0">
                <a:pos x="758" y="12"/>
              </a:cxn>
              <a:cxn ang="0">
                <a:pos x="817" y="6"/>
              </a:cxn>
              <a:cxn ang="0">
                <a:pos x="844" y="8"/>
              </a:cxn>
              <a:cxn ang="0">
                <a:pos x="862" y="11"/>
              </a:cxn>
              <a:cxn ang="0">
                <a:pos x="924" y="6"/>
              </a:cxn>
              <a:cxn ang="0">
                <a:pos x="1037" y="43"/>
              </a:cxn>
              <a:cxn ang="0">
                <a:pos x="1005" y="79"/>
              </a:cxn>
              <a:cxn ang="0">
                <a:pos x="930" y="55"/>
              </a:cxn>
              <a:cxn ang="0">
                <a:pos x="873" y="74"/>
              </a:cxn>
              <a:cxn ang="0">
                <a:pos x="848" y="116"/>
              </a:cxn>
              <a:cxn ang="0">
                <a:pos x="811" y="111"/>
              </a:cxn>
              <a:cxn ang="0">
                <a:pos x="745" y="128"/>
              </a:cxn>
              <a:cxn ang="0">
                <a:pos x="694" y="92"/>
              </a:cxn>
              <a:cxn ang="0">
                <a:pos x="620" y="112"/>
              </a:cxn>
              <a:cxn ang="0">
                <a:pos x="534" y="134"/>
              </a:cxn>
              <a:cxn ang="0">
                <a:pos x="486" y="210"/>
              </a:cxn>
              <a:cxn ang="0">
                <a:pos x="430" y="279"/>
              </a:cxn>
              <a:cxn ang="0">
                <a:pos x="399" y="364"/>
              </a:cxn>
              <a:cxn ang="0">
                <a:pos x="333" y="425"/>
              </a:cxn>
              <a:cxn ang="0">
                <a:pos x="355" y="497"/>
              </a:cxn>
              <a:cxn ang="0">
                <a:pos x="354" y="558"/>
              </a:cxn>
              <a:cxn ang="0">
                <a:pos x="331" y="615"/>
              </a:cxn>
              <a:cxn ang="0">
                <a:pos x="295" y="645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7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838952" y="2630045"/>
            <a:ext cx="49212" cy="90487"/>
          </a:xfrm>
          <a:custGeom>
            <a:avLst/>
            <a:gdLst/>
            <a:ahLst/>
            <a:cxnLst>
              <a:cxn ang="0">
                <a:pos x="120" y="99"/>
              </a:cxn>
              <a:cxn ang="0">
                <a:pos x="92" y="60"/>
              </a:cxn>
              <a:cxn ang="0">
                <a:pos x="70" y="28"/>
              </a:cxn>
              <a:cxn ang="0">
                <a:pos x="60" y="16"/>
              </a:cxn>
              <a:cxn ang="0">
                <a:pos x="53" y="8"/>
              </a:cxn>
              <a:cxn ang="0">
                <a:pos x="48" y="4"/>
              </a:cxn>
              <a:cxn ang="0">
                <a:pos x="45" y="2"/>
              </a:cxn>
              <a:cxn ang="0">
                <a:pos x="43" y="1"/>
              </a:cxn>
              <a:cxn ang="0">
                <a:pos x="39" y="0"/>
              </a:cxn>
              <a:cxn ang="0">
                <a:pos x="33" y="0"/>
              </a:cxn>
              <a:cxn ang="0">
                <a:pos x="27" y="1"/>
              </a:cxn>
              <a:cxn ang="0">
                <a:pos x="24" y="3"/>
              </a:cxn>
              <a:cxn ang="0">
                <a:pos x="21" y="5"/>
              </a:cxn>
              <a:cxn ang="0">
                <a:pos x="19" y="8"/>
              </a:cxn>
              <a:cxn ang="0">
                <a:pos x="16" y="12"/>
              </a:cxn>
              <a:cxn ang="0">
                <a:pos x="15" y="15"/>
              </a:cxn>
              <a:cxn ang="0">
                <a:pos x="15" y="20"/>
              </a:cxn>
              <a:cxn ang="0">
                <a:pos x="14" y="30"/>
              </a:cxn>
              <a:cxn ang="0">
                <a:pos x="12" y="42"/>
              </a:cxn>
              <a:cxn ang="0">
                <a:pos x="10" y="48"/>
              </a:cxn>
              <a:cxn ang="0">
                <a:pos x="8" y="54"/>
              </a:cxn>
              <a:cxn ang="0">
                <a:pos x="4" y="61"/>
              </a:cxn>
              <a:cxn ang="0">
                <a:pos x="0" y="68"/>
              </a:cxn>
              <a:cxn ang="0">
                <a:pos x="5" y="82"/>
              </a:cxn>
              <a:cxn ang="0">
                <a:pos x="10" y="99"/>
              </a:cxn>
              <a:cxn ang="0">
                <a:pos x="15" y="115"/>
              </a:cxn>
              <a:cxn ang="0">
                <a:pos x="20" y="129"/>
              </a:cxn>
              <a:cxn ang="0">
                <a:pos x="24" y="134"/>
              </a:cxn>
              <a:cxn ang="0">
                <a:pos x="30" y="139"/>
              </a:cxn>
              <a:cxn ang="0">
                <a:pos x="37" y="145"/>
              </a:cxn>
              <a:cxn ang="0">
                <a:pos x="46" y="151"/>
              </a:cxn>
              <a:cxn ang="0">
                <a:pos x="54" y="157"/>
              </a:cxn>
              <a:cxn ang="0">
                <a:pos x="60" y="163"/>
              </a:cxn>
              <a:cxn ang="0">
                <a:pos x="62" y="165"/>
              </a:cxn>
              <a:cxn ang="0">
                <a:pos x="65" y="168"/>
              </a:cxn>
              <a:cxn ang="0">
                <a:pos x="66" y="170"/>
              </a:cxn>
              <a:cxn ang="0">
                <a:pos x="67" y="173"/>
              </a:cxn>
              <a:cxn ang="0">
                <a:pos x="76" y="167"/>
              </a:cxn>
              <a:cxn ang="0">
                <a:pos x="86" y="160"/>
              </a:cxn>
              <a:cxn ang="0">
                <a:pos x="93" y="152"/>
              </a:cxn>
              <a:cxn ang="0">
                <a:pos x="101" y="142"/>
              </a:cxn>
              <a:cxn ang="0">
                <a:pos x="106" y="132"/>
              </a:cxn>
              <a:cxn ang="0">
                <a:pos x="112" y="121"/>
              </a:cxn>
              <a:cxn ang="0">
                <a:pos x="116" y="110"/>
              </a:cxn>
              <a:cxn ang="0">
                <a:pos x="120" y="9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00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8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546858" y="2469679"/>
            <a:ext cx="84137" cy="58739"/>
          </a:xfrm>
          <a:custGeom>
            <a:avLst/>
            <a:gdLst/>
            <a:ahLst/>
            <a:cxnLst>
              <a:cxn ang="0">
                <a:pos x="200" y="55"/>
              </a:cxn>
              <a:cxn ang="0">
                <a:pos x="195" y="56"/>
              </a:cxn>
              <a:cxn ang="0">
                <a:pos x="186" y="60"/>
              </a:cxn>
              <a:cxn ang="0">
                <a:pos x="177" y="65"/>
              </a:cxn>
              <a:cxn ang="0">
                <a:pos x="166" y="73"/>
              </a:cxn>
              <a:cxn ang="0">
                <a:pos x="155" y="80"/>
              </a:cxn>
              <a:cxn ang="0">
                <a:pos x="145" y="87"/>
              </a:cxn>
              <a:cxn ang="0">
                <a:pos x="137" y="93"/>
              </a:cxn>
              <a:cxn ang="0">
                <a:pos x="133" y="98"/>
              </a:cxn>
              <a:cxn ang="0">
                <a:pos x="127" y="98"/>
              </a:cxn>
              <a:cxn ang="0">
                <a:pos x="122" y="98"/>
              </a:cxn>
              <a:cxn ang="0">
                <a:pos x="116" y="97"/>
              </a:cxn>
              <a:cxn ang="0">
                <a:pos x="111" y="95"/>
              </a:cxn>
              <a:cxn ang="0">
                <a:pos x="106" y="93"/>
              </a:cxn>
              <a:cxn ang="0">
                <a:pos x="103" y="88"/>
              </a:cxn>
              <a:cxn ang="0">
                <a:pos x="101" y="82"/>
              </a:cxn>
              <a:cxn ang="0">
                <a:pos x="100" y="74"/>
              </a:cxn>
              <a:cxn ang="0">
                <a:pos x="91" y="80"/>
              </a:cxn>
              <a:cxn ang="0">
                <a:pos x="82" y="86"/>
              </a:cxn>
              <a:cxn ang="0">
                <a:pos x="78" y="90"/>
              </a:cxn>
              <a:cxn ang="0">
                <a:pos x="72" y="93"/>
              </a:cxn>
              <a:cxn ang="0">
                <a:pos x="67" y="96"/>
              </a:cxn>
              <a:cxn ang="0">
                <a:pos x="60" y="98"/>
              </a:cxn>
              <a:cxn ang="0">
                <a:pos x="39" y="98"/>
              </a:cxn>
              <a:cxn ang="0">
                <a:pos x="34" y="98"/>
              </a:cxn>
              <a:cxn ang="0">
                <a:pos x="28" y="95"/>
              </a:cxn>
              <a:cxn ang="0">
                <a:pos x="22" y="92"/>
              </a:cxn>
              <a:cxn ang="0">
                <a:pos x="15" y="89"/>
              </a:cxn>
              <a:cxn ang="0">
                <a:pos x="9" y="85"/>
              </a:cxn>
              <a:cxn ang="0">
                <a:pos x="4" y="81"/>
              </a:cxn>
              <a:cxn ang="0">
                <a:pos x="1" y="77"/>
              </a:cxn>
              <a:cxn ang="0">
                <a:pos x="0" y="74"/>
              </a:cxn>
              <a:cxn ang="0">
                <a:pos x="5" y="71"/>
              </a:cxn>
              <a:cxn ang="0">
                <a:pos x="10" y="67"/>
              </a:cxn>
              <a:cxn ang="0">
                <a:pos x="14" y="60"/>
              </a:cxn>
              <a:cxn ang="0">
                <a:pos x="20" y="53"/>
              </a:cxn>
              <a:cxn ang="0">
                <a:pos x="23" y="45"/>
              </a:cxn>
              <a:cxn ang="0">
                <a:pos x="27" y="37"/>
              </a:cxn>
              <a:cxn ang="0">
                <a:pos x="30" y="28"/>
              </a:cxn>
              <a:cxn ang="0">
                <a:pos x="33" y="19"/>
              </a:cxn>
              <a:cxn ang="0">
                <a:pos x="66" y="14"/>
              </a:cxn>
              <a:cxn ang="0">
                <a:pos x="103" y="9"/>
              </a:cxn>
              <a:cxn ang="0">
                <a:pos x="145" y="4"/>
              </a:cxn>
              <a:cxn ang="0">
                <a:pos x="193" y="0"/>
              </a:cxn>
              <a:cxn ang="0">
                <a:pos x="166" y="31"/>
              </a:cxn>
              <a:cxn ang="0">
                <a:pos x="166" y="34"/>
              </a:cxn>
              <a:cxn ang="0">
                <a:pos x="164" y="37"/>
              </a:cxn>
              <a:cxn ang="0">
                <a:pos x="162" y="39"/>
              </a:cxn>
              <a:cxn ang="0">
                <a:pos x="161" y="41"/>
              </a:cxn>
              <a:cxn ang="0">
                <a:pos x="157" y="45"/>
              </a:cxn>
              <a:cxn ang="0">
                <a:pos x="156" y="47"/>
              </a:cxn>
              <a:cxn ang="0">
                <a:pos x="156" y="49"/>
              </a:cxn>
              <a:cxn ang="0">
                <a:pos x="157" y="50"/>
              </a:cxn>
              <a:cxn ang="0">
                <a:pos x="159" y="50"/>
              </a:cxn>
              <a:cxn ang="0">
                <a:pos x="163" y="51"/>
              </a:cxn>
              <a:cxn ang="0">
                <a:pos x="177" y="53"/>
              </a:cxn>
              <a:cxn ang="0">
                <a:pos x="200" y="55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9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484936" y="2288712"/>
            <a:ext cx="84138" cy="73025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" y="116"/>
              </a:cxn>
              <a:cxn ang="0">
                <a:pos x="3" y="107"/>
              </a:cxn>
              <a:cxn ang="0">
                <a:pos x="3" y="93"/>
              </a:cxn>
              <a:cxn ang="0">
                <a:pos x="9" y="82"/>
              </a:cxn>
              <a:cxn ang="0">
                <a:pos x="17" y="69"/>
              </a:cxn>
              <a:cxn ang="0">
                <a:pos x="20" y="56"/>
              </a:cxn>
              <a:cxn ang="0">
                <a:pos x="23" y="46"/>
              </a:cxn>
              <a:cxn ang="0">
                <a:pos x="28" y="37"/>
              </a:cxn>
              <a:cxn ang="0">
                <a:pos x="35" y="32"/>
              </a:cxn>
              <a:cxn ang="0">
                <a:pos x="41" y="38"/>
              </a:cxn>
              <a:cxn ang="0">
                <a:pos x="43" y="49"/>
              </a:cxn>
              <a:cxn ang="0">
                <a:pos x="47" y="58"/>
              </a:cxn>
              <a:cxn ang="0">
                <a:pos x="55" y="65"/>
              </a:cxn>
              <a:cxn ang="0">
                <a:pos x="87" y="67"/>
              </a:cxn>
              <a:cxn ang="0">
                <a:pos x="79" y="41"/>
              </a:cxn>
              <a:cxn ang="0">
                <a:pos x="69" y="36"/>
              </a:cxn>
              <a:cxn ang="0">
                <a:pos x="63" y="30"/>
              </a:cxn>
              <a:cxn ang="0">
                <a:pos x="61" y="23"/>
              </a:cxn>
              <a:cxn ang="0">
                <a:pos x="70" y="17"/>
              </a:cxn>
              <a:cxn ang="0">
                <a:pos x="87" y="14"/>
              </a:cxn>
              <a:cxn ang="0">
                <a:pos x="98" y="10"/>
              </a:cxn>
              <a:cxn ang="0">
                <a:pos x="111" y="6"/>
              </a:cxn>
              <a:cxn ang="0">
                <a:pos x="130" y="3"/>
              </a:cxn>
              <a:cxn ang="0">
                <a:pos x="147" y="1"/>
              </a:cxn>
              <a:cxn ang="0">
                <a:pos x="159" y="2"/>
              </a:cxn>
              <a:cxn ang="0">
                <a:pos x="176" y="1"/>
              </a:cxn>
              <a:cxn ang="0">
                <a:pos x="183" y="10"/>
              </a:cxn>
              <a:cxn ang="0">
                <a:pos x="178" y="26"/>
              </a:cxn>
              <a:cxn ang="0">
                <a:pos x="169" y="40"/>
              </a:cxn>
              <a:cxn ang="0">
                <a:pos x="159" y="51"/>
              </a:cxn>
              <a:cxn ang="0">
                <a:pos x="155" y="63"/>
              </a:cxn>
              <a:cxn ang="0">
                <a:pos x="153" y="76"/>
              </a:cxn>
              <a:cxn ang="0">
                <a:pos x="120" y="142"/>
              </a:cxn>
              <a:cxn ang="0">
                <a:pos x="80" y="122"/>
              </a:cxn>
              <a:cxn ang="0">
                <a:pos x="35" y="117"/>
              </a:cxn>
              <a:cxn ang="0">
                <a:pos x="8" y="11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0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465886" y="2352205"/>
            <a:ext cx="84138" cy="57151"/>
          </a:xfrm>
          <a:custGeom>
            <a:avLst/>
            <a:gdLst/>
            <a:ahLst/>
            <a:cxnLst>
              <a:cxn ang="0">
                <a:pos x="192" y="61"/>
              </a:cxn>
              <a:cxn ang="0">
                <a:pos x="189" y="62"/>
              </a:cxn>
              <a:cxn ang="0">
                <a:pos x="184" y="63"/>
              </a:cxn>
              <a:cxn ang="0">
                <a:pos x="180" y="64"/>
              </a:cxn>
              <a:cxn ang="0">
                <a:pos x="177" y="67"/>
              </a:cxn>
              <a:cxn ang="0">
                <a:pos x="168" y="72"/>
              </a:cxn>
              <a:cxn ang="0">
                <a:pos x="160" y="79"/>
              </a:cxn>
              <a:cxn ang="0">
                <a:pos x="154" y="86"/>
              </a:cxn>
              <a:cxn ang="0">
                <a:pos x="147" y="93"/>
              </a:cxn>
              <a:cxn ang="0">
                <a:pos x="143" y="99"/>
              </a:cxn>
              <a:cxn ang="0">
                <a:pos x="139" y="105"/>
              </a:cxn>
              <a:cxn ang="0">
                <a:pos x="120" y="97"/>
              </a:cxn>
              <a:cxn ang="0">
                <a:pos x="102" y="89"/>
              </a:cxn>
              <a:cxn ang="0">
                <a:pos x="86" y="80"/>
              </a:cxn>
              <a:cxn ang="0">
                <a:pos x="69" y="71"/>
              </a:cxn>
              <a:cxn ang="0">
                <a:pos x="53" y="61"/>
              </a:cxn>
              <a:cxn ang="0">
                <a:pos x="36" y="53"/>
              </a:cxn>
              <a:cxn ang="0">
                <a:pos x="19" y="44"/>
              </a:cxn>
              <a:cxn ang="0">
                <a:pos x="0" y="37"/>
              </a:cxn>
              <a:cxn ang="0">
                <a:pos x="0" y="13"/>
              </a:cxn>
              <a:cxn ang="0">
                <a:pos x="7" y="7"/>
              </a:cxn>
              <a:cxn ang="0">
                <a:pos x="16" y="4"/>
              </a:cxn>
              <a:cxn ang="0">
                <a:pos x="29" y="1"/>
              </a:cxn>
              <a:cxn ang="0">
                <a:pos x="40" y="0"/>
              </a:cxn>
              <a:cxn ang="0">
                <a:pos x="60" y="2"/>
              </a:cxn>
              <a:cxn ang="0">
                <a:pos x="93" y="5"/>
              </a:cxn>
              <a:cxn ang="0">
                <a:pos x="111" y="7"/>
              </a:cxn>
              <a:cxn ang="0">
                <a:pos x="128" y="7"/>
              </a:cxn>
              <a:cxn ang="0">
                <a:pos x="143" y="7"/>
              </a:cxn>
              <a:cxn ang="0">
                <a:pos x="153" y="6"/>
              </a:cxn>
              <a:cxn ang="0">
                <a:pos x="155" y="11"/>
              </a:cxn>
              <a:cxn ang="0">
                <a:pos x="159" y="17"/>
              </a:cxn>
              <a:cxn ang="0">
                <a:pos x="161" y="20"/>
              </a:cxn>
              <a:cxn ang="0">
                <a:pos x="164" y="23"/>
              </a:cxn>
              <a:cxn ang="0">
                <a:pos x="165" y="27"/>
              </a:cxn>
              <a:cxn ang="0">
                <a:pos x="166" y="31"/>
              </a:cxn>
              <a:cxn ang="0">
                <a:pos x="170" y="32"/>
              </a:cxn>
              <a:cxn ang="0">
                <a:pos x="177" y="33"/>
              </a:cxn>
              <a:cxn ang="0">
                <a:pos x="180" y="34"/>
              </a:cxn>
              <a:cxn ang="0">
                <a:pos x="183" y="34"/>
              </a:cxn>
              <a:cxn ang="0">
                <a:pos x="188" y="33"/>
              </a:cxn>
              <a:cxn ang="0">
                <a:pos x="192" y="31"/>
              </a:cxn>
              <a:cxn ang="0">
                <a:pos x="192" y="61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1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5226314" y="2906241"/>
            <a:ext cx="33337" cy="131763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7" y="2"/>
              </a:cxn>
              <a:cxn ang="0">
                <a:pos x="40" y="4"/>
              </a:cxn>
              <a:cxn ang="0">
                <a:pos x="43" y="7"/>
              </a:cxn>
              <a:cxn ang="0">
                <a:pos x="46" y="10"/>
              </a:cxn>
              <a:cxn ang="0">
                <a:pos x="52" y="18"/>
              </a:cxn>
              <a:cxn ang="0">
                <a:pos x="56" y="25"/>
              </a:cxn>
              <a:cxn ang="0">
                <a:pos x="62" y="32"/>
              </a:cxn>
              <a:cxn ang="0">
                <a:pos x="67" y="38"/>
              </a:cxn>
              <a:cxn ang="0">
                <a:pos x="70" y="40"/>
              </a:cxn>
              <a:cxn ang="0">
                <a:pos x="73" y="42"/>
              </a:cxn>
              <a:cxn ang="0">
                <a:pos x="76" y="43"/>
              </a:cxn>
              <a:cxn ang="0">
                <a:pos x="80" y="44"/>
              </a:cxn>
              <a:cxn ang="0">
                <a:pos x="80" y="53"/>
              </a:cxn>
              <a:cxn ang="0">
                <a:pos x="80" y="62"/>
              </a:cxn>
              <a:cxn ang="0">
                <a:pos x="53" y="254"/>
              </a:cxn>
              <a:cxn ang="0">
                <a:pos x="0" y="93"/>
              </a:cxn>
              <a:cxn ang="0">
                <a:pos x="4" y="88"/>
              </a:cxn>
              <a:cxn ang="0">
                <a:pos x="11" y="71"/>
              </a:cxn>
              <a:cxn ang="0">
                <a:pos x="17" y="57"/>
              </a:cxn>
              <a:cxn ang="0">
                <a:pos x="22" y="41"/>
              </a:cxn>
              <a:cxn ang="0">
                <a:pos x="28" y="23"/>
              </a:cxn>
              <a:cxn ang="0">
                <a:pos x="33" y="0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2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5175504" y="2958657"/>
            <a:ext cx="69850" cy="13017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67" y="155"/>
              </a:cxn>
              <a:cxn ang="0">
                <a:pos x="121" y="259"/>
              </a:cxn>
              <a:cxn ang="0">
                <a:pos x="113" y="259"/>
              </a:cxn>
              <a:cxn ang="0">
                <a:pos x="107" y="257"/>
              </a:cxn>
              <a:cxn ang="0">
                <a:pos x="100" y="254"/>
              </a:cxn>
              <a:cxn ang="0">
                <a:pos x="95" y="251"/>
              </a:cxn>
              <a:cxn ang="0">
                <a:pos x="89" y="245"/>
              </a:cxn>
              <a:cxn ang="0">
                <a:pos x="85" y="240"/>
              </a:cxn>
              <a:cxn ang="0">
                <a:pos x="80" y="235"/>
              </a:cxn>
              <a:cxn ang="0">
                <a:pos x="76" y="229"/>
              </a:cxn>
              <a:cxn ang="0">
                <a:pos x="69" y="217"/>
              </a:cxn>
              <a:cxn ang="0">
                <a:pos x="65" y="205"/>
              </a:cxn>
              <a:cxn ang="0">
                <a:pos x="62" y="194"/>
              </a:cxn>
              <a:cxn ang="0">
                <a:pos x="62" y="185"/>
              </a:cxn>
              <a:cxn ang="0">
                <a:pos x="55" y="184"/>
              </a:cxn>
              <a:cxn ang="0">
                <a:pos x="51" y="183"/>
              </a:cxn>
              <a:cxn ang="0">
                <a:pos x="45" y="182"/>
              </a:cxn>
              <a:cxn ang="0">
                <a:pos x="42" y="180"/>
              </a:cxn>
              <a:cxn ang="0">
                <a:pos x="39" y="177"/>
              </a:cxn>
              <a:cxn ang="0">
                <a:pos x="36" y="174"/>
              </a:cxn>
              <a:cxn ang="0">
                <a:pos x="34" y="170"/>
              </a:cxn>
              <a:cxn ang="0">
                <a:pos x="32" y="167"/>
              </a:cxn>
              <a:cxn ang="0">
                <a:pos x="30" y="158"/>
              </a:cxn>
              <a:cxn ang="0">
                <a:pos x="29" y="149"/>
              </a:cxn>
              <a:cxn ang="0">
                <a:pos x="28" y="140"/>
              </a:cxn>
              <a:cxn ang="0">
                <a:pos x="28" y="129"/>
              </a:cxn>
              <a:cxn ang="0">
                <a:pos x="21" y="129"/>
              </a:cxn>
              <a:cxn ang="0">
                <a:pos x="16" y="127"/>
              </a:cxn>
              <a:cxn ang="0">
                <a:pos x="11" y="125"/>
              </a:cxn>
              <a:cxn ang="0">
                <a:pos x="7" y="121"/>
              </a:cxn>
              <a:cxn ang="0">
                <a:pos x="5" y="117"/>
              </a:cxn>
              <a:cxn ang="0">
                <a:pos x="2" y="112"/>
              </a:cxn>
              <a:cxn ang="0">
                <a:pos x="0" y="107"/>
              </a:cxn>
              <a:cxn ang="0">
                <a:pos x="0" y="101"/>
              </a:cxn>
              <a:cxn ang="0">
                <a:pos x="0" y="75"/>
              </a:cxn>
              <a:cxn ang="0">
                <a:pos x="1" y="50"/>
              </a:cxn>
              <a:cxn ang="0">
                <a:pos x="12" y="52"/>
              </a:cxn>
              <a:cxn ang="0">
                <a:pos x="22" y="53"/>
              </a:cxn>
              <a:cxn ang="0">
                <a:pos x="32" y="53"/>
              </a:cxn>
              <a:cxn ang="0">
                <a:pos x="42" y="52"/>
              </a:cxn>
              <a:cxn ang="0">
                <a:pos x="50" y="51"/>
              </a:cxn>
              <a:cxn ang="0">
                <a:pos x="58" y="49"/>
              </a:cxn>
              <a:cxn ang="0">
                <a:pos x="66" y="47"/>
              </a:cxn>
              <a:cxn ang="0">
                <a:pos x="73" y="44"/>
              </a:cxn>
              <a:cxn ang="0">
                <a:pos x="79" y="40"/>
              </a:cxn>
              <a:cxn ang="0">
                <a:pos x="86" y="36"/>
              </a:cxn>
              <a:cxn ang="0">
                <a:pos x="91" y="31"/>
              </a:cxn>
              <a:cxn ang="0">
                <a:pos x="97" y="26"/>
              </a:cxn>
              <a:cxn ang="0">
                <a:pos x="107" y="13"/>
              </a:cxn>
              <a:cxn ang="0">
                <a:pos x="114" y="0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3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176961" y="2212514"/>
            <a:ext cx="96838" cy="144463"/>
          </a:xfrm>
          <a:custGeom>
            <a:avLst/>
            <a:gdLst/>
            <a:ahLst/>
            <a:cxnLst>
              <a:cxn ang="0">
                <a:pos x="185" y="67"/>
              </a:cxn>
              <a:cxn ang="0">
                <a:pos x="173" y="78"/>
              </a:cxn>
              <a:cxn ang="0">
                <a:pos x="159" y="82"/>
              </a:cxn>
              <a:cxn ang="0">
                <a:pos x="163" y="93"/>
              </a:cxn>
              <a:cxn ang="0">
                <a:pos x="174" y="101"/>
              </a:cxn>
              <a:cxn ang="0">
                <a:pos x="195" y="105"/>
              </a:cxn>
              <a:cxn ang="0">
                <a:pos x="225" y="106"/>
              </a:cxn>
              <a:cxn ang="0">
                <a:pos x="225" y="152"/>
              </a:cxn>
              <a:cxn ang="0">
                <a:pos x="224" y="176"/>
              </a:cxn>
              <a:cxn ang="0">
                <a:pos x="215" y="187"/>
              </a:cxn>
              <a:cxn ang="0">
                <a:pos x="197" y="205"/>
              </a:cxn>
              <a:cxn ang="0">
                <a:pos x="192" y="214"/>
              </a:cxn>
              <a:cxn ang="0">
                <a:pos x="179" y="218"/>
              </a:cxn>
              <a:cxn ang="0">
                <a:pos x="164" y="225"/>
              </a:cxn>
              <a:cxn ang="0">
                <a:pos x="159" y="236"/>
              </a:cxn>
              <a:cxn ang="0">
                <a:pos x="140" y="242"/>
              </a:cxn>
              <a:cxn ang="0">
                <a:pos x="128" y="252"/>
              </a:cxn>
              <a:cxn ang="0">
                <a:pos x="101" y="255"/>
              </a:cxn>
              <a:cxn ang="0">
                <a:pos x="60" y="261"/>
              </a:cxn>
              <a:cxn ang="0">
                <a:pos x="19" y="261"/>
              </a:cxn>
              <a:cxn ang="0">
                <a:pos x="0" y="217"/>
              </a:cxn>
              <a:cxn ang="0">
                <a:pos x="21" y="212"/>
              </a:cxn>
              <a:cxn ang="0">
                <a:pos x="26" y="205"/>
              </a:cxn>
              <a:cxn ang="0">
                <a:pos x="60" y="202"/>
              </a:cxn>
              <a:cxn ang="0">
                <a:pos x="72" y="193"/>
              </a:cxn>
              <a:cxn ang="0">
                <a:pos x="48" y="198"/>
              </a:cxn>
              <a:cxn ang="0">
                <a:pos x="40" y="197"/>
              </a:cxn>
              <a:cxn ang="0">
                <a:pos x="39" y="188"/>
              </a:cxn>
              <a:cxn ang="0">
                <a:pos x="46" y="173"/>
              </a:cxn>
              <a:cxn ang="0">
                <a:pos x="39" y="160"/>
              </a:cxn>
              <a:cxn ang="0">
                <a:pos x="14" y="150"/>
              </a:cxn>
              <a:cxn ang="0">
                <a:pos x="6" y="130"/>
              </a:cxn>
              <a:cxn ang="0">
                <a:pos x="22" y="115"/>
              </a:cxn>
              <a:cxn ang="0">
                <a:pos x="35" y="102"/>
              </a:cxn>
              <a:cxn ang="0">
                <a:pos x="68" y="94"/>
              </a:cxn>
              <a:cxn ang="0">
                <a:pos x="90" y="94"/>
              </a:cxn>
              <a:cxn ang="0">
                <a:pos x="100" y="88"/>
              </a:cxn>
              <a:cxn ang="0">
                <a:pos x="108" y="52"/>
              </a:cxn>
              <a:cxn ang="0">
                <a:pos x="120" y="31"/>
              </a:cxn>
              <a:cxn ang="0">
                <a:pos x="130" y="20"/>
              </a:cxn>
              <a:cxn ang="0">
                <a:pos x="141" y="7"/>
              </a:cxn>
              <a:cxn ang="0">
                <a:pos x="155" y="1"/>
              </a:cxn>
              <a:cxn ang="0">
                <a:pos x="179" y="3"/>
              </a:cxn>
              <a:cxn ang="0">
                <a:pos x="195" y="38"/>
              </a:cxn>
              <a:cxn ang="0">
                <a:pos x="196" y="47"/>
              </a:cxn>
              <a:cxn ang="0">
                <a:pos x="190" y="56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4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989636" y="3123756"/>
            <a:ext cx="306388" cy="390525"/>
          </a:xfrm>
          <a:custGeom>
            <a:avLst/>
            <a:gdLst/>
            <a:ahLst/>
            <a:cxnLst>
              <a:cxn ang="0">
                <a:pos x="94" y="246"/>
              </a:cxn>
              <a:cxn ang="0">
                <a:pos x="96" y="243"/>
              </a:cxn>
              <a:cxn ang="0">
                <a:pos x="98" y="238"/>
              </a:cxn>
              <a:cxn ang="0">
                <a:pos x="100" y="232"/>
              </a:cxn>
              <a:cxn ang="0">
                <a:pos x="103" y="231"/>
              </a:cxn>
              <a:cxn ang="0">
                <a:pos x="104" y="238"/>
              </a:cxn>
              <a:cxn ang="0">
                <a:pos x="106" y="241"/>
              </a:cxn>
              <a:cxn ang="0">
                <a:pos x="108" y="242"/>
              </a:cxn>
              <a:cxn ang="0">
                <a:pos x="110" y="242"/>
              </a:cxn>
              <a:cxn ang="0">
                <a:pos x="113" y="241"/>
              </a:cxn>
              <a:cxn ang="0">
                <a:pos x="116" y="238"/>
              </a:cxn>
              <a:cxn ang="0">
                <a:pos x="216" y="234"/>
              </a:cxn>
              <a:cxn ang="0">
                <a:pos x="213" y="204"/>
              </a:cxn>
              <a:cxn ang="0">
                <a:pos x="207" y="138"/>
              </a:cxn>
              <a:cxn ang="0">
                <a:pos x="201" y="73"/>
              </a:cxn>
              <a:cxn ang="0">
                <a:pos x="198" y="43"/>
              </a:cxn>
              <a:cxn ang="0">
                <a:pos x="215" y="44"/>
              </a:cxn>
              <a:cxn ang="0">
                <a:pos x="232" y="46"/>
              </a:cxn>
              <a:cxn ang="0">
                <a:pos x="161" y="2"/>
              </a:cxn>
              <a:cxn ang="0">
                <a:pos x="160" y="8"/>
              </a:cxn>
              <a:cxn ang="0">
                <a:pos x="161" y="18"/>
              </a:cxn>
              <a:cxn ang="0">
                <a:pos x="98" y="24"/>
              </a:cxn>
              <a:cxn ang="0">
                <a:pos x="98" y="74"/>
              </a:cxn>
              <a:cxn ang="0">
                <a:pos x="95" y="76"/>
              </a:cxn>
              <a:cxn ang="0">
                <a:pos x="87" y="78"/>
              </a:cxn>
              <a:cxn ang="0">
                <a:pos x="72" y="82"/>
              </a:cxn>
              <a:cxn ang="0">
                <a:pos x="74" y="88"/>
              </a:cxn>
              <a:cxn ang="0">
                <a:pos x="78" y="96"/>
              </a:cxn>
              <a:cxn ang="0">
                <a:pos x="80" y="105"/>
              </a:cxn>
              <a:cxn ang="0">
                <a:pos x="81" y="115"/>
              </a:cxn>
              <a:cxn ang="0">
                <a:pos x="9" y="119"/>
              </a:cxn>
              <a:cxn ang="0">
                <a:pos x="5" y="130"/>
              </a:cxn>
              <a:cxn ang="0">
                <a:pos x="6" y="143"/>
              </a:cxn>
              <a:cxn ang="0">
                <a:pos x="8" y="155"/>
              </a:cxn>
              <a:cxn ang="0">
                <a:pos x="9" y="168"/>
              </a:cxn>
              <a:cxn ang="0">
                <a:pos x="9" y="182"/>
              </a:cxn>
              <a:cxn ang="0">
                <a:pos x="8" y="194"/>
              </a:cxn>
              <a:cxn ang="0">
                <a:pos x="6" y="206"/>
              </a:cxn>
              <a:cxn ang="0">
                <a:pos x="2" y="216"/>
              </a:cxn>
              <a:cxn ang="0">
                <a:pos x="2" y="219"/>
              </a:cxn>
              <a:cxn ang="0">
                <a:pos x="3" y="220"/>
              </a:cxn>
              <a:cxn ang="0">
                <a:pos x="3" y="222"/>
              </a:cxn>
              <a:cxn ang="0">
                <a:pos x="7" y="217"/>
              </a:cxn>
              <a:cxn ang="0">
                <a:pos x="18" y="213"/>
              </a:cxn>
              <a:cxn ang="0">
                <a:pos x="36" y="207"/>
              </a:cxn>
              <a:cxn ang="0">
                <a:pos x="45" y="208"/>
              </a:cxn>
              <a:cxn ang="0">
                <a:pos x="51" y="212"/>
              </a:cxn>
              <a:cxn ang="0">
                <a:pos x="56" y="214"/>
              </a:cxn>
              <a:cxn ang="0">
                <a:pos x="62" y="215"/>
              </a:cxn>
              <a:cxn ang="0">
                <a:pos x="66" y="219"/>
              </a:cxn>
              <a:cxn ang="0">
                <a:pos x="67" y="225"/>
              </a:cxn>
              <a:cxn ang="0">
                <a:pos x="70" y="231"/>
              </a:cxn>
              <a:cxn ang="0">
                <a:pos x="74" y="235"/>
              </a:cxn>
              <a:cxn ang="0">
                <a:pos x="85" y="243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5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4105539" y="3184081"/>
            <a:ext cx="414337" cy="468313"/>
          </a:xfrm>
          <a:custGeom>
            <a:avLst/>
            <a:gdLst/>
            <a:ahLst/>
            <a:cxnLst>
              <a:cxn ang="0">
                <a:pos x="90" y="788"/>
              </a:cxn>
              <a:cxn ang="0">
                <a:pos x="121" y="788"/>
              </a:cxn>
              <a:cxn ang="0">
                <a:pos x="146" y="783"/>
              </a:cxn>
              <a:cxn ang="0">
                <a:pos x="186" y="776"/>
              </a:cxn>
              <a:cxn ang="0">
                <a:pos x="197" y="813"/>
              </a:cxn>
              <a:cxn ang="0">
                <a:pos x="212" y="835"/>
              </a:cxn>
              <a:cxn ang="0">
                <a:pos x="226" y="846"/>
              </a:cxn>
              <a:cxn ang="0">
                <a:pos x="246" y="850"/>
              </a:cxn>
              <a:cxn ang="0">
                <a:pos x="246" y="881"/>
              </a:cxn>
              <a:cxn ang="0">
                <a:pos x="326" y="889"/>
              </a:cxn>
              <a:cxn ang="0">
                <a:pos x="334" y="876"/>
              </a:cxn>
              <a:cxn ang="0">
                <a:pos x="347" y="871"/>
              </a:cxn>
              <a:cxn ang="0">
                <a:pos x="348" y="888"/>
              </a:cxn>
              <a:cxn ang="0">
                <a:pos x="358" y="893"/>
              </a:cxn>
              <a:cxn ang="0">
                <a:pos x="385" y="893"/>
              </a:cxn>
              <a:cxn ang="0">
                <a:pos x="401" y="854"/>
              </a:cxn>
              <a:cxn ang="0">
                <a:pos x="412" y="788"/>
              </a:cxn>
              <a:cxn ang="0">
                <a:pos x="424" y="771"/>
              </a:cxn>
              <a:cxn ang="0">
                <a:pos x="452" y="754"/>
              </a:cxn>
              <a:cxn ang="0">
                <a:pos x="485" y="743"/>
              </a:cxn>
              <a:cxn ang="0">
                <a:pos x="501" y="729"/>
              </a:cxn>
              <a:cxn ang="0">
                <a:pos x="515" y="702"/>
              </a:cxn>
              <a:cxn ang="0">
                <a:pos x="535" y="668"/>
              </a:cxn>
              <a:cxn ang="0">
                <a:pos x="547" y="660"/>
              </a:cxn>
              <a:cxn ang="0">
                <a:pos x="572" y="659"/>
              </a:cxn>
              <a:cxn ang="0">
                <a:pos x="605" y="644"/>
              </a:cxn>
              <a:cxn ang="0">
                <a:pos x="639" y="624"/>
              </a:cxn>
              <a:cxn ang="0">
                <a:pos x="674" y="613"/>
              </a:cxn>
              <a:cxn ang="0">
                <a:pos x="724" y="610"/>
              </a:cxn>
              <a:cxn ang="0">
                <a:pos x="788" y="602"/>
              </a:cxn>
              <a:cxn ang="0">
                <a:pos x="815" y="594"/>
              </a:cxn>
              <a:cxn ang="0">
                <a:pos x="863" y="590"/>
              </a:cxn>
              <a:cxn ang="0">
                <a:pos x="901" y="583"/>
              </a:cxn>
              <a:cxn ang="0">
                <a:pos x="913" y="574"/>
              </a:cxn>
              <a:cxn ang="0">
                <a:pos x="931" y="544"/>
              </a:cxn>
              <a:cxn ang="0">
                <a:pos x="943" y="504"/>
              </a:cxn>
              <a:cxn ang="0">
                <a:pos x="948" y="461"/>
              </a:cxn>
              <a:cxn ang="0">
                <a:pos x="947" y="421"/>
              </a:cxn>
              <a:cxn ang="0">
                <a:pos x="943" y="363"/>
              </a:cxn>
              <a:cxn ang="0">
                <a:pos x="922" y="356"/>
              </a:cxn>
              <a:cxn ang="0">
                <a:pos x="862" y="322"/>
              </a:cxn>
              <a:cxn ang="0">
                <a:pos x="794" y="278"/>
              </a:cxn>
              <a:cxn ang="0">
                <a:pos x="738" y="216"/>
              </a:cxn>
              <a:cxn ang="0">
                <a:pos x="412" y="12"/>
              </a:cxn>
              <a:cxn ang="0">
                <a:pos x="348" y="102"/>
              </a:cxn>
              <a:cxn ang="0">
                <a:pos x="379" y="405"/>
              </a:cxn>
              <a:cxn ang="0">
                <a:pos x="392" y="565"/>
              </a:cxn>
              <a:cxn ang="0">
                <a:pos x="93" y="591"/>
              </a:cxn>
              <a:cxn ang="0">
                <a:pos x="79" y="606"/>
              </a:cxn>
              <a:cxn ang="0">
                <a:pos x="67" y="610"/>
              </a:cxn>
              <a:cxn ang="0">
                <a:pos x="57" y="607"/>
              </a:cxn>
              <a:cxn ang="0">
                <a:pos x="49" y="591"/>
              </a:cxn>
              <a:cxn ang="0">
                <a:pos x="40" y="581"/>
              </a:cxn>
              <a:cxn ang="0">
                <a:pos x="29" y="605"/>
              </a:cxn>
              <a:cxn ang="0">
                <a:pos x="15" y="623"/>
              </a:cxn>
              <a:cxn ang="0">
                <a:pos x="67" y="733"/>
              </a:cxn>
              <a:cxn ang="0">
                <a:pos x="61" y="748"/>
              </a:cxn>
              <a:cxn ang="0">
                <a:pos x="62" y="760"/>
              </a:cxn>
              <a:cxn ang="0">
                <a:pos x="54" y="788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6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203954" y="2790354"/>
            <a:ext cx="493712" cy="579439"/>
          </a:xfrm>
          <a:custGeom>
            <a:avLst/>
            <a:gdLst/>
            <a:ahLst/>
            <a:cxnLst>
              <a:cxn ang="0">
                <a:pos x="238" y="367"/>
              </a:cxn>
              <a:cxn ang="0">
                <a:pos x="244" y="365"/>
              </a:cxn>
              <a:cxn ang="0">
                <a:pos x="255" y="368"/>
              </a:cxn>
              <a:cxn ang="0">
                <a:pos x="372" y="277"/>
              </a:cxn>
              <a:cxn ang="0">
                <a:pos x="369" y="270"/>
              </a:cxn>
              <a:cxn ang="0">
                <a:pos x="361" y="264"/>
              </a:cxn>
              <a:cxn ang="0">
                <a:pos x="347" y="259"/>
              </a:cxn>
              <a:cxn ang="0">
                <a:pos x="339" y="254"/>
              </a:cxn>
              <a:cxn ang="0">
                <a:pos x="336" y="247"/>
              </a:cxn>
              <a:cxn ang="0">
                <a:pos x="337" y="228"/>
              </a:cxn>
              <a:cxn ang="0">
                <a:pos x="337" y="196"/>
              </a:cxn>
              <a:cxn ang="0">
                <a:pos x="334" y="168"/>
              </a:cxn>
              <a:cxn ang="0">
                <a:pos x="329" y="155"/>
              </a:cxn>
              <a:cxn ang="0">
                <a:pos x="323" y="142"/>
              </a:cxn>
              <a:cxn ang="0">
                <a:pos x="315" y="109"/>
              </a:cxn>
              <a:cxn ang="0">
                <a:pos x="306" y="90"/>
              </a:cxn>
              <a:cxn ang="0">
                <a:pos x="297" y="78"/>
              </a:cxn>
              <a:cxn ang="0">
                <a:pos x="300" y="63"/>
              </a:cxn>
              <a:cxn ang="0">
                <a:pos x="301" y="43"/>
              </a:cxn>
              <a:cxn ang="0">
                <a:pos x="302" y="23"/>
              </a:cxn>
              <a:cxn ang="0">
                <a:pos x="310" y="7"/>
              </a:cxn>
              <a:cxn ang="0">
                <a:pos x="302" y="6"/>
              </a:cxn>
              <a:cxn ang="0">
                <a:pos x="278" y="12"/>
              </a:cxn>
              <a:cxn ang="0">
                <a:pos x="245" y="12"/>
              </a:cxn>
              <a:cxn ang="0">
                <a:pos x="206" y="14"/>
              </a:cxn>
              <a:cxn ang="0">
                <a:pos x="168" y="24"/>
              </a:cxn>
              <a:cxn ang="0">
                <a:pos x="145" y="32"/>
              </a:cxn>
              <a:cxn ang="0">
                <a:pos x="124" y="44"/>
              </a:cxn>
              <a:cxn ang="0">
                <a:pos x="123" y="52"/>
              </a:cxn>
              <a:cxn ang="0">
                <a:pos x="131" y="89"/>
              </a:cxn>
              <a:cxn ang="0">
                <a:pos x="134" y="93"/>
              </a:cxn>
              <a:cxn ang="0">
                <a:pos x="141" y="98"/>
              </a:cxn>
              <a:cxn ang="0">
                <a:pos x="142" y="102"/>
              </a:cxn>
              <a:cxn ang="0">
                <a:pos x="139" y="107"/>
              </a:cxn>
              <a:cxn ang="0">
                <a:pos x="128" y="107"/>
              </a:cxn>
              <a:cxn ang="0">
                <a:pos x="106" y="113"/>
              </a:cxn>
              <a:cxn ang="0">
                <a:pos x="95" y="122"/>
              </a:cxn>
              <a:cxn ang="0">
                <a:pos x="90" y="131"/>
              </a:cxn>
              <a:cxn ang="0">
                <a:pos x="82" y="137"/>
              </a:cxn>
              <a:cxn ang="0">
                <a:pos x="66" y="150"/>
              </a:cxn>
              <a:cxn ang="0">
                <a:pos x="51" y="158"/>
              </a:cxn>
              <a:cxn ang="0">
                <a:pos x="31" y="160"/>
              </a:cxn>
              <a:cxn ang="0">
                <a:pos x="20" y="164"/>
              </a:cxn>
              <a:cxn ang="0">
                <a:pos x="8" y="174"/>
              </a:cxn>
              <a:cxn ang="0">
                <a:pos x="0" y="200"/>
              </a:cxn>
              <a:cxn ang="0">
                <a:pos x="179" y="331"/>
              </a:cxn>
              <a:cxn ang="0">
                <a:pos x="201" y="352"/>
              </a:cxn>
              <a:cxn ang="0">
                <a:pos x="229" y="368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7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640518" y="2925292"/>
            <a:ext cx="384175" cy="436563"/>
          </a:xfrm>
          <a:custGeom>
            <a:avLst/>
            <a:gdLst/>
            <a:ahLst/>
            <a:cxnLst>
              <a:cxn ang="0">
                <a:pos x="36" y="141"/>
              </a:cxn>
              <a:cxn ang="0">
                <a:pos x="46" y="109"/>
              </a:cxn>
              <a:cxn ang="0">
                <a:pos x="46" y="70"/>
              </a:cxn>
              <a:cxn ang="0">
                <a:pos x="61" y="64"/>
              </a:cxn>
              <a:cxn ang="0">
                <a:pos x="89" y="55"/>
              </a:cxn>
              <a:cxn ang="0">
                <a:pos x="99" y="20"/>
              </a:cxn>
              <a:cxn ang="0">
                <a:pos x="168" y="6"/>
              </a:cxn>
              <a:cxn ang="0">
                <a:pos x="242" y="24"/>
              </a:cxn>
              <a:cxn ang="0">
                <a:pos x="273" y="43"/>
              </a:cxn>
              <a:cxn ang="0">
                <a:pos x="285" y="78"/>
              </a:cxn>
              <a:cxn ang="0">
                <a:pos x="295" y="101"/>
              </a:cxn>
              <a:cxn ang="0">
                <a:pos x="325" y="110"/>
              </a:cxn>
              <a:cxn ang="0">
                <a:pos x="363" y="109"/>
              </a:cxn>
              <a:cxn ang="0">
                <a:pos x="421" y="133"/>
              </a:cxn>
              <a:cxn ang="0">
                <a:pos x="478" y="162"/>
              </a:cxn>
              <a:cxn ang="0">
                <a:pos x="513" y="166"/>
              </a:cxn>
              <a:cxn ang="0">
                <a:pos x="538" y="158"/>
              </a:cxn>
              <a:cxn ang="0">
                <a:pos x="549" y="126"/>
              </a:cxn>
              <a:cxn ang="0">
                <a:pos x="544" y="103"/>
              </a:cxn>
              <a:cxn ang="0">
                <a:pos x="531" y="81"/>
              </a:cxn>
              <a:cxn ang="0">
                <a:pos x="539" y="49"/>
              </a:cxn>
              <a:cxn ang="0">
                <a:pos x="574" y="34"/>
              </a:cxn>
              <a:cxn ang="0">
                <a:pos x="617" y="4"/>
              </a:cxn>
              <a:cxn ang="0">
                <a:pos x="650" y="0"/>
              </a:cxn>
              <a:cxn ang="0">
                <a:pos x="681" y="6"/>
              </a:cxn>
              <a:cxn ang="0">
                <a:pos x="695" y="24"/>
              </a:cxn>
              <a:cxn ang="0">
                <a:pos x="706" y="50"/>
              </a:cxn>
              <a:cxn ang="0">
                <a:pos x="728" y="63"/>
              </a:cxn>
              <a:cxn ang="0">
                <a:pos x="798" y="71"/>
              </a:cxn>
              <a:cxn ang="0">
                <a:pos x="830" y="97"/>
              </a:cxn>
              <a:cxn ang="0">
                <a:pos x="834" y="117"/>
              </a:cxn>
              <a:cxn ang="0">
                <a:pos x="843" y="140"/>
              </a:cxn>
              <a:cxn ang="0">
                <a:pos x="836" y="159"/>
              </a:cxn>
              <a:cxn ang="0">
                <a:pos x="824" y="170"/>
              </a:cxn>
              <a:cxn ang="0">
                <a:pos x="829" y="207"/>
              </a:cxn>
              <a:cxn ang="0">
                <a:pos x="858" y="245"/>
              </a:cxn>
              <a:cxn ang="0">
                <a:pos x="876" y="687"/>
              </a:cxn>
              <a:cxn ang="0">
                <a:pos x="877" y="741"/>
              </a:cxn>
              <a:cxn ang="0">
                <a:pos x="870" y="775"/>
              </a:cxn>
              <a:cxn ang="0">
                <a:pos x="848" y="783"/>
              </a:cxn>
              <a:cxn ang="0">
                <a:pos x="830" y="804"/>
              </a:cxn>
              <a:cxn ang="0">
                <a:pos x="366" y="593"/>
              </a:cxn>
              <a:cxn ang="0">
                <a:pos x="331" y="607"/>
              </a:cxn>
              <a:cxn ang="0">
                <a:pos x="292" y="626"/>
              </a:cxn>
              <a:cxn ang="0">
                <a:pos x="263" y="627"/>
              </a:cxn>
              <a:cxn ang="0">
                <a:pos x="230" y="609"/>
              </a:cxn>
              <a:cxn ang="0">
                <a:pos x="193" y="586"/>
              </a:cxn>
              <a:cxn ang="0">
                <a:pos x="152" y="578"/>
              </a:cxn>
              <a:cxn ang="0">
                <a:pos x="138" y="577"/>
              </a:cxn>
              <a:cxn ang="0">
                <a:pos x="130" y="553"/>
              </a:cxn>
              <a:cxn ang="0">
                <a:pos x="109" y="535"/>
              </a:cxn>
              <a:cxn ang="0">
                <a:pos x="63" y="517"/>
              </a:cxn>
              <a:cxn ang="0">
                <a:pos x="28" y="499"/>
              </a:cxn>
              <a:cxn ang="0">
                <a:pos x="16" y="482"/>
              </a:cxn>
              <a:cxn ang="0">
                <a:pos x="14" y="439"/>
              </a:cxn>
              <a:cxn ang="0">
                <a:pos x="19" y="352"/>
              </a:cxn>
              <a:cxn ang="0">
                <a:pos x="17" y="258"/>
              </a:cxn>
              <a:cxn ang="0">
                <a:pos x="4" y="202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8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592889" y="2790353"/>
            <a:ext cx="93663" cy="236539"/>
          </a:xfrm>
          <a:custGeom>
            <a:avLst/>
            <a:gdLst/>
            <a:ahLst/>
            <a:cxnLst>
              <a:cxn ang="0">
                <a:pos x="103" y="441"/>
              </a:cxn>
              <a:cxn ang="0">
                <a:pos x="125" y="420"/>
              </a:cxn>
              <a:cxn ang="0">
                <a:pos x="140" y="404"/>
              </a:cxn>
              <a:cxn ang="0">
                <a:pos x="147" y="390"/>
              </a:cxn>
              <a:cxn ang="0">
                <a:pos x="152" y="373"/>
              </a:cxn>
              <a:cxn ang="0">
                <a:pos x="154" y="352"/>
              </a:cxn>
              <a:cxn ang="0">
                <a:pos x="153" y="335"/>
              </a:cxn>
              <a:cxn ang="0">
                <a:pos x="156" y="331"/>
              </a:cxn>
              <a:cxn ang="0">
                <a:pos x="168" y="329"/>
              </a:cxn>
              <a:cxn ang="0">
                <a:pos x="185" y="325"/>
              </a:cxn>
              <a:cxn ang="0">
                <a:pos x="196" y="318"/>
              </a:cxn>
              <a:cxn ang="0">
                <a:pos x="203" y="304"/>
              </a:cxn>
              <a:cxn ang="0">
                <a:pos x="206" y="280"/>
              </a:cxn>
              <a:cxn ang="0">
                <a:pos x="202" y="265"/>
              </a:cxn>
              <a:cxn ang="0">
                <a:pos x="193" y="264"/>
              </a:cxn>
              <a:cxn ang="0">
                <a:pos x="177" y="256"/>
              </a:cxn>
              <a:cxn ang="0">
                <a:pos x="155" y="242"/>
              </a:cxn>
              <a:cxn ang="0">
                <a:pos x="140" y="231"/>
              </a:cxn>
              <a:cxn ang="0">
                <a:pos x="130" y="228"/>
              </a:cxn>
              <a:cxn ang="0">
                <a:pos x="119" y="222"/>
              </a:cxn>
              <a:cxn ang="0">
                <a:pos x="101" y="212"/>
              </a:cxn>
              <a:cxn ang="0">
                <a:pos x="95" y="206"/>
              </a:cxn>
              <a:cxn ang="0">
                <a:pos x="95" y="199"/>
              </a:cxn>
              <a:cxn ang="0">
                <a:pos x="104" y="181"/>
              </a:cxn>
              <a:cxn ang="0">
                <a:pos x="119" y="158"/>
              </a:cxn>
              <a:cxn ang="0">
                <a:pos x="134" y="140"/>
              </a:cxn>
              <a:cxn ang="0">
                <a:pos x="136" y="129"/>
              </a:cxn>
              <a:cxn ang="0">
                <a:pos x="126" y="116"/>
              </a:cxn>
              <a:cxn ang="0">
                <a:pos x="115" y="105"/>
              </a:cxn>
              <a:cxn ang="0">
                <a:pos x="108" y="93"/>
              </a:cxn>
              <a:cxn ang="0">
                <a:pos x="107" y="84"/>
              </a:cxn>
              <a:cxn ang="0">
                <a:pos x="111" y="78"/>
              </a:cxn>
              <a:cxn ang="0">
                <a:pos x="116" y="72"/>
              </a:cxn>
              <a:cxn ang="0">
                <a:pos x="123" y="69"/>
              </a:cxn>
              <a:cxn ang="0">
                <a:pos x="126" y="37"/>
              </a:cxn>
              <a:cxn ang="0">
                <a:pos x="110" y="32"/>
              </a:cxn>
              <a:cxn ang="0">
                <a:pos x="87" y="21"/>
              </a:cxn>
              <a:cxn ang="0">
                <a:pos x="53" y="0"/>
              </a:cxn>
              <a:cxn ang="0">
                <a:pos x="47" y="11"/>
              </a:cxn>
              <a:cxn ang="0">
                <a:pos x="34" y="44"/>
              </a:cxn>
              <a:cxn ang="0">
                <a:pos x="28" y="70"/>
              </a:cxn>
              <a:cxn ang="0">
                <a:pos x="22" y="99"/>
              </a:cxn>
              <a:cxn ang="0">
                <a:pos x="20" y="133"/>
              </a:cxn>
              <a:cxn ang="0">
                <a:pos x="20" y="172"/>
              </a:cxn>
              <a:cxn ang="0">
                <a:pos x="12" y="188"/>
              </a:cxn>
              <a:cxn ang="0">
                <a:pos x="8" y="206"/>
              </a:cxn>
              <a:cxn ang="0">
                <a:pos x="0" y="235"/>
              </a:cxn>
              <a:cxn ang="0">
                <a:pos x="22" y="259"/>
              </a:cxn>
              <a:cxn ang="0">
                <a:pos x="41" y="281"/>
              </a:cxn>
              <a:cxn ang="0">
                <a:pos x="55" y="305"/>
              </a:cxn>
              <a:cxn ang="0">
                <a:pos x="66" y="329"/>
              </a:cxn>
              <a:cxn ang="0">
                <a:pos x="75" y="355"/>
              </a:cxn>
              <a:cxn ang="0">
                <a:pos x="82" y="384"/>
              </a:cxn>
              <a:cxn ang="0">
                <a:pos x="93" y="455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9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975351" y="3101505"/>
            <a:ext cx="231775" cy="215900"/>
          </a:xfrm>
          <a:custGeom>
            <a:avLst/>
            <a:gdLst/>
            <a:ahLst/>
            <a:cxnLst>
              <a:cxn ang="0">
                <a:pos x="326" y="110"/>
              </a:cxn>
              <a:cxn ang="0">
                <a:pos x="326" y="259"/>
              </a:cxn>
              <a:cxn ang="0">
                <a:pos x="315" y="264"/>
              </a:cxn>
              <a:cxn ang="0">
                <a:pos x="291" y="271"/>
              </a:cxn>
              <a:cxn ang="0">
                <a:pos x="246" y="283"/>
              </a:cxn>
              <a:cxn ang="0">
                <a:pos x="253" y="302"/>
              </a:cxn>
              <a:cxn ang="0">
                <a:pos x="265" y="326"/>
              </a:cxn>
              <a:cxn ang="0">
                <a:pos x="269" y="353"/>
              </a:cxn>
              <a:cxn ang="0">
                <a:pos x="272" y="382"/>
              </a:cxn>
              <a:cxn ang="0">
                <a:pos x="52" y="394"/>
              </a:cxn>
              <a:cxn ang="0">
                <a:pos x="22" y="406"/>
              </a:cxn>
              <a:cxn ang="0">
                <a:pos x="5" y="403"/>
              </a:cxn>
              <a:cxn ang="0">
                <a:pos x="1" y="398"/>
              </a:cxn>
              <a:cxn ang="0">
                <a:pos x="1" y="385"/>
              </a:cxn>
              <a:cxn ang="0">
                <a:pos x="4" y="371"/>
              </a:cxn>
              <a:cxn ang="0">
                <a:pos x="11" y="354"/>
              </a:cxn>
              <a:cxn ang="0">
                <a:pos x="20" y="341"/>
              </a:cxn>
              <a:cxn ang="0">
                <a:pos x="30" y="334"/>
              </a:cxn>
              <a:cxn ang="0">
                <a:pos x="38" y="326"/>
              </a:cxn>
              <a:cxn ang="0">
                <a:pos x="44" y="317"/>
              </a:cxn>
              <a:cxn ang="0">
                <a:pos x="49" y="292"/>
              </a:cxn>
              <a:cxn ang="0">
                <a:pos x="56" y="265"/>
              </a:cxn>
              <a:cxn ang="0">
                <a:pos x="62" y="257"/>
              </a:cxn>
              <a:cxn ang="0">
                <a:pos x="74" y="246"/>
              </a:cxn>
              <a:cxn ang="0">
                <a:pos x="92" y="238"/>
              </a:cxn>
              <a:cxn ang="0">
                <a:pos x="107" y="231"/>
              </a:cxn>
              <a:cxn ang="0">
                <a:pos x="122" y="218"/>
              </a:cxn>
              <a:cxn ang="0">
                <a:pos x="136" y="195"/>
              </a:cxn>
              <a:cxn ang="0">
                <a:pos x="150" y="156"/>
              </a:cxn>
              <a:cxn ang="0">
                <a:pos x="162" y="117"/>
              </a:cxn>
              <a:cxn ang="0">
                <a:pos x="172" y="94"/>
              </a:cxn>
              <a:cxn ang="0">
                <a:pos x="186" y="73"/>
              </a:cxn>
              <a:cxn ang="0">
                <a:pos x="201" y="62"/>
              </a:cxn>
              <a:cxn ang="0">
                <a:pos x="213" y="57"/>
              </a:cxn>
              <a:cxn ang="0">
                <a:pos x="219" y="44"/>
              </a:cxn>
              <a:cxn ang="0">
                <a:pos x="223" y="28"/>
              </a:cxn>
              <a:cxn ang="0">
                <a:pos x="228" y="16"/>
              </a:cxn>
              <a:cxn ang="0">
                <a:pos x="239" y="8"/>
              </a:cxn>
              <a:cxn ang="0">
                <a:pos x="511" y="0"/>
              </a:cxn>
              <a:cxn ang="0">
                <a:pos x="515" y="46"/>
              </a:cxn>
              <a:cxn ang="0">
                <a:pos x="518" y="110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0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943600" y="1909292"/>
            <a:ext cx="190500" cy="93663"/>
          </a:xfrm>
          <a:custGeom>
            <a:avLst/>
            <a:gdLst/>
            <a:ahLst/>
            <a:cxnLst>
              <a:cxn ang="0">
                <a:pos x="34" y="61"/>
              </a:cxn>
              <a:cxn ang="0">
                <a:pos x="41" y="42"/>
              </a:cxn>
              <a:cxn ang="0">
                <a:pos x="68" y="37"/>
              </a:cxn>
              <a:cxn ang="0">
                <a:pos x="80" y="18"/>
              </a:cxn>
              <a:cxn ang="0">
                <a:pos x="72" y="14"/>
              </a:cxn>
              <a:cxn ang="0">
                <a:pos x="60" y="0"/>
              </a:cxn>
              <a:cxn ang="0">
                <a:pos x="85" y="10"/>
              </a:cxn>
              <a:cxn ang="0">
                <a:pos x="108" y="39"/>
              </a:cxn>
              <a:cxn ang="0">
                <a:pos x="125" y="62"/>
              </a:cxn>
              <a:cxn ang="0">
                <a:pos x="139" y="67"/>
              </a:cxn>
              <a:cxn ang="0">
                <a:pos x="157" y="63"/>
              </a:cxn>
              <a:cxn ang="0">
                <a:pos x="181" y="45"/>
              </a:cxn>
              <a:cxn ang="0">
                <a:pos x="205" y="23"/>
              </a:cxn>
              <a:cxn ang="0">
                <a:pos x="220" y="31"/>
              </a:cxn>
              <a:cxn ang="0">
                <a:pos x="359" y="11"/>
              </a:cxn>
              <a:cxn ang="0">
                <a:pos x="376" y="23"/>
              </a:cxn>
              <a:cxn ang="0">
                <a:pos x="396" y="22"/>
              </a:cxn>
              <a:cxn ang="0">
                <a:pos x="413" y="37"/>
              </a:cxn>
              <a:cxn ang="0">
                <a:pos x="415" y="43"/>
              </a:cxn>
              <a:cxn ang="0">
                <a:pos x="429" y="54"/>
              </a:cxn>
              <a:cxn ang="0">
                <a:pos x="443" y="68"/>
              </a:cxn>
              <a:cxn ang="0">
                <a:pos x="446" y="80"/>
              </a:cxn>
              <a:cxn ang="0">
                <a:pos x="438" y="96"/>
              </a:cxn>
              <a:cxn ang="0">
                <a:pos x="413" y="111"/>
              </a:cxn>
              <a:cxn ang="0">
                <a:pos x="397" y="120"/>
              </a:cxn>
              <a:cxn ang="0">
                <a:pos x="366" y="123"/>
              </a:cxn>
              <a:cxn ang="0">
                <a:pos x="300" y="146"/>
              </a:cxn>
              <a:cxn ang="0">
                <a:pos x="234" y="171"/>
              </a:cxn>
              <a:cxn ang="0">
                <a:pos x="199" y="178"/>
              </a:cxn>
              <a:cxn ang="0">
                <a:pos x="177" y="174"/>
              </a:cxn>
              <a:cxn ang="0">
                <a:pos x="172" y="164"/>
              </a:cxn>
              <a:cxn ang="0">
                <a:pos x="170" y="161"/>
              </a:cxn>
              <a:cxn ang="0">
                <a:pos x="156" y="161"/>
              </a:cxn>
              <a:cxn ang="0">
                <a:pos x="139" y="160"/>
              </a:cxn>
              <a:cxn ang="0">
                <a:pos x="100" y="147"/>
              </a:cxn>
              <a:cxn ang="0">
                <a:pos x="85" y="137"/>
              </a:cxn>
              <a:cxn ang="0">
                <a:pos x="81" y="125"/>
              </a:cxn>
              <a:cxn ang="0">
                <a:pos x="87" y="111"/>
              </a:cxn>
              <a:cxn ang="0">
                <a:pos x="27" y="103"/>
              </a:cxn>
              <a:cxn ang="0">
                <a:pos x="9" y="105"/>
              </a:cxn>
              <a:cxn ang="0">
                <a:pos x="0" y="80"/>
              </a:cxn>
              <a:cxn ang="0">
                <a:pos x="60" y="86"/>
              </a:cxn>
              <a:cxn ang="0">
                <a:pos x="87" y="80"/>
              </a:cxn>
              <a:cxn ang="0">
                <a:pos x="23" y="68"/>
              </a:cxn>
              <a:cxn ang="0">
                <a:pos x="16" y="55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1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735766" y="2172818"/>
            <a:ext cx="14288" cy="57151"/>
          </a:xfrm>
          <a:custGeom>
            <a:avLst/>
            <a:gdLst/>
            <a:ahLst/>
            <a:cxnLst>
              <a:cxn ang="0">
                <a:pos x="0" y="73"/>
              </a:cxn>
              <a:cxn ang="0">
                <a:pos x="2" y="47"/>
              </a:cxn>
              <a:cxn ang="0">
                <a:pos x="6" y="28"/>
              </a:cxn>
              <a:cxn ang="0">
                <a:pos x="7" y="20"/>
              </a:cxn>
              <a:cxn ang="0">
                <a:pos x="6" y="13"/>
              </a:cxn>
              <a:cxn ang="0">
                <a:pos x="4" y="7"/>
              </a:cxn>
              <a:cxn ang="0">
                <a:pos x="0" y="0"/>
              </a:cxn>
              <a:cxn ang="0">
                <a:pos x="28" y="0"/>
              </a:cxn>
              <a:cxn ang="0">
                <a:pos x="22" y="16"/>
              </a:cxn>
              <a:cxn ang="0">
                <a:pos x="17" y="30"/>
              </a:cxn>
              <a:cxn ang="0">
                <a:pos x="12" y="43"/>
              </a:cxn>
              <a:cxn ang="0">
                <a:pos x="7" y="55"/>
              </a:cxn>
              <a:cxn ang="0">
                <a:pos x="0" y="73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2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623051" y="1836280"/>
            <a:ext cx="234950" cy="395287"/>
          </a:xfrm>
          <a:custGeom>
            <a:avLst/>
            <a:gdLst/>
            <a:ahLst/>
            <a:cxnLst>
              <a:cxn ang="0">
                <a:pos x="419" y="203"/>
              </a:cxn>
              <a:cxn ang="0">
                <a:pos x="406" y="221"/>
              </a:cxn>
              <a:cxn ang="0">
                <a:pos x="404" y="237"/>
              </a:cxn>
              <a:cxn ang="0">
                <a:pos x="382" y="275"/>
              </a:cxn>
              <a:cxn ang="0">
                <a:pos x="325" y="306"/>
              </a:cxn>
              <a:cxn ang="0">
                <a:pos x="252" y="354"/>
              </a:cxn>
              <a:cxn ang="0">
                <a:pos x="237" y="369"/>
              </a:cxn>
              <a:cxn ang="0">
                <a:pos x="245" y="381"/>
              </a:cxn>
              <a:cxn ang="0">
                <a:pos x="240" y="424"/>
              </a:cxn>
              <a:cxn ang="0">
                <a:pos x="239" y="449"/>
              </a:cxn>
              <a:cxn ang="0">
                <a:pos x="262" y="468"/>
              </a:cxn>
              <a:cxn ang="0">
                <a:pos x="320" y="485"/>
              </a:cxn>
              <a:cxn ang="0">
                <a:pos x="332" y="505"/>
              </a:cxn>
              <a:cxn ang="0">
                <a:pos x="310" y="531"/>
              </a:cxn>
              <a:cxn ang="0">
                <a:pos x="272" y="547"/>
              </a:cxn>
              <a:cxn ang="0">
                <a:pos x="265" y="560"/>
              </a:cxn>
              <a:cxn ang="0">
                <a:pos x="252" y="631"/>
              </a:cxn>
              <a:cxn ang="0">
                <a:pos x="239" y="721"/>
              </a:cxn>
              <a:cxn ang="0">
                <a:pos x="173" y="727"/>
              </a:cxn>
              <a:cxn ang="0">
                <a:pos x="152" y="738"/>
              </a:cxn>
              <a:cxn ang="0">
                <a:pos x="153" y="757"/>
              </a:cxn>
              <a:cxn ang="0">
                <a:pos x="106" y="757"/>
              </a:cxn>
              <a:cxn ang="0">
                <a:pos x="95" y="752"/>
              </a:cxn>
              <a:cxn ang="0">
                <a:pos x="71" y="718"/>
              </a:cxn>
              <a:cxn ang="0">
                <a:pos x="41" y="640"/>
              </a:cxn>
              <a:cxn ang="0">
                <a:pos x="34" y="597"/>
              </a:cxn>
              <a:cxn ang="0">
                <a:pos x="14" y="586"/>
              </a:cxn>
              <a:cxn ang="0">
                <a:pos x="19" y="561"/>
              </a:cxn>
              <a:cxn ang="0">
                <a:pos x="36" y="538"/>
              </a:cxn>
              <a:cxn ang="0">
                <a:pos x="53" y="504"/>
              </a:cxn>
              <a:cxn ang="0">
                <a:pos x="61" y="471"/>
              </a:cxn>
              <a:cxn ang="0">
                <a:pos x="64" y="441"/>
              </a:cxn>
              <a:cxn ang="0">
                <a:pos x="58" y="408"/>
              </a:cxn>
              <a:cxn ang="0">
                <a:pos x="43" y="377"/>
              </a:cxn>
              <a:cxn ang="0">
                <a:pos x="74" y="276"/>
              </a:cxn>
              <a:cxn ang="0">
                <a:pos x="103" y="275"/>
              </a:cxn>
              <a:cxn ang="0">
                <a:pos x="113" y="234"/>
              </a:cxn>
              <a:cxn ang="0">
                <a:pos x="137" y="192"/>
              </a:cxn>
              <a:cxn ang="0">
                <a:pos x="180" y="145"/>
              </a:cxn>
              <a:cxn ang="0">
                <a:pos x="198" y="111"/>
              </a:cxn>
              <a:cxn ang="0">
                <a:pos x="228" y="60"/>
              </a:cxn>
              <a:cxn ang="0">
                <a:pos x="249" y="43"/>
              </a:cxn>
              <a:cxn ang="0">
                <a:pos x="309" y="29"/>
              </a:cxn>
              <a:cxn ang="0">
                <a:pos x="368" y="13"/>
              </a:cxn>
              <a:cxn ang="0">
                <a:pos x="401" y="5"/>
              </a:cxn>
              <a:cxn ang="0">
                <a:pos x="431" y="32"/>
              </a:cxn>
              <a:cxn ang="0">
                <a:pos x="457" y="42"/>
              </a:cxn>
              <a:cxn ang="0">
                <a:pos x="513" y="111"/>
              </a:cxn>
              <a:cxn ang="0">
                <a:pos x="528" y="150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3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761161" y="2150593"/>
            <a:ext cx="26988" cy="57151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0"/>
              </a:cxn>
              <a:cxn ang="0">
                <a:pos x="15" y="19"/>
              </a:cxn>
              <a:cxn ang="0">
                <a:pos x="20" y="13"/>
              </a:cxn>
              <a:cxn ang="0">
                <a:pos x="27" y="8"/>
              </a:cxn>
              <a:cxn ang="0">
                <a:pos x="33" y="4"/>
              </a:cxn>
              <a:cxn ang="0">
                <a:pos x="40" y="0"/>
              </a:cxn>
              <a:cxn ang="0">
                <a:pos x="50" y="7"/>
              </a:cxn>
              <a:cxn ang="0">
                <a:pos x="60" y="13"/>
              </a:cxn>
              <a:cxn ang="0">
                <a:pos x="59" y="20"/>
              </a:cxn>
              <a:cxn ang="0">
                <a:pos x="56" y="29"/>
              </a:cxn>
              <a:cxn ang="0">
                <a:pos x="54" y="34"/>
              </a:cxn>
              <a:cxn ang="0">
                <a:pos x="52" y="38"/>
              </a:cxn>
              <a:cxn ang="0">
                <a:pos x="49" y="42"/>
              </a:cxn>
              <a:cxn ang="0">
                <a:pos x="45" y="45"/>
              </a:cxn>
              <a:cxn ang="0">
                <a:pos x="41" y="48"/>
              </a:cxn>
              <a:cxn ang="0">
                <a:pos x="37" y="50"/>
              </a:cxn>
              <a:cxn ang="0">
                <a:pos x="31" y="51"/>
              </a:cxn>
              <a:cxn ang="0">
                <a:pos x="27" y="51"/>
              </a:cxn>
              <a:cxn ang="0">
                <a:pos x="20" y="50"/>
              </a:cxn>
              <a:cxn ang="0">
                <a:pos x="15" y="47"/>
              </a:cxn>
              <a:cxn ang="0">
                <a:pos x="7" y="43"/>
              </a:cxn>
              <a:cxn ang="0">
                <a:pos x="0" y="37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4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205543" y="2312518"/>
            <a:ext cx="28575" cy="57151"/>
          </a:xfrm>
          <a:custGeom>
            <a:avLst/>
            <a:gdLst/>
            <a:ahLst/>
            <a:cxnLst>
              <a:cxn ang="0">
                <a:pos x="59" y="48"/>
              </a:cxn>
              <a:cxn ang="0">
                <a:pos x="42" y="50"/>
              </a:cxn>
              <a:cxn ang="0">
                <a:pos x="22" y="51"/>
              </a:cxn>
              <a:cxn ang="0">
                <a:pos x="17" y="50"/>
              </a:cxn>
              <a:cxn ang="0">
                <a:pos x="13" y="49"/>
              </a:cxn>
              <a:cxn ang="0">
                <a:pos x="10" y="48"/>
              </a:cxn>
              <a:cxn ang="0">
                <a:pos x="7" y="46"/>
              </a:cxn>
              <a:cxn ang="0">
                <a:pos x="3" y="43"/>
              </a:cxn>
              <a:cxn ang="0">
                <a:pos x="1" y="40"/>
              </a:cxn>
              <a:cxn ang="0">
                <a:pos x="0" y="35"/>
              </a:cxn>
              <a:cxn ang="0">
                <a:pos x="0" y="30"/>
              </a:cxn>
              <a:cxn ang="0">
                <a:pos x="4" y="29"/>
              </a:cxn>
              <a:cxn ang="0">
                <a:pos x="10" y="27"/>
              </a:cxn>
              <a:cxn ang="0">
                <a:pos x="14" y="24"/>
              </a:cxn>
              <a:cxn ang="0">
                <a:pos x="19" y="20"/>
              </a:cxn>
              <a:cxn ang="0">
                <a:pos x="26" y="10"/>
              </a:cxn>
              <a:cxn ang="0">
                <a:pos x="33" y="0"/>
              </a:cxn>
              <a:cxn ang="0">
                <a:pos x="46" y="1"/>
              </a:cxn>
              <a:cxn ang="0">
                <a:pos x="52" y="2"/>
              </a:cxn>
              <a:cxn ang="0">
                <a:pos x="56" y="3"/>
              </a:cxn>
              <a:cxn ang="0">
                <a:pos x="66" y="0"/>
              </a:cxn>
              <a:cxn ang="0">
                <a:pos x="65" y="13"/>
              </a:cxn>
              <a:cxn ang="0">
                <a:pos x="63" y="24"/>
              </a:cxn>
              <a:cxn ang="0">
                <a:pos x="60" y="36"/>
              </a:cxn>
              <a:cxn ang="0">
                <a:pos x="59" y="48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5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5158041" y="2841154"/>
            <a:ext cx="50800" cy="57151"/>
          </a:xfrm>
          <a:custGeom>
            <a:avLst/>
            <a:gdLst/>
            <a:ahLst/>
            <a:cxnLst>
              <a:cxn ang="0">
                <a:pos x="0" y="44"/>
              </a:cxn>
              <a:cxn ang="0">
                <a:pos x="20" y="74"/>
              </a:cxn>
              <a:cxn ang="0">
                <a:pos x="37" y="69"/>
              </a:cxn>
              <a:cxn ang="0">
                <a:pos x="51" y="65"/>
              </a:cxn>
              <a:cxn ang="0">
                <a:pos x="64" y="59"/>
              </a:cxn>
              <a:cxn ang="0">
                <a:pos x="74" y="53"/>
              </a:cxn>
              <a:cxn ang="0">
                <a:pos x="78" y="49"/>
              </a:cxn>
              <a:cxn ang="0">
                <a:pos x="83" y="45"/>
              </a:cxn>
              <a:cxn ang="0">
                <a:pos x="86" y="41"/>
              </a:cxn>
              <a:cxn ang="0">
                <a:pos x="88" y="37"/>
              </a:cxn>
              <a:cxn ang="0">
                <a:pos x="90" y="32"/>
              </a:cxn>
              <a:cxn ang="0">
                <a:pos x="91" y="26"/>
              </a:cxn>
              <a:cxn ang="0">
                <a:pos x="93" y="19"/>
              </a:cxn>
              <a:cxn ang="0">
                <a:pos x="94" y="13"/>
              </a:cxn>
              <a:cxn ang="0">
                <a:pos x="99" y="12"/>
              </a:cxn>
              <a:cxn ang="0">
                <a:pos x="106" y="9"/>
              </a:cxn>
              <a:cxn ang="0">
                <a:pos x="108" y="7"/>
              </a:cxn>
              <a:cxn ang="0">
                <a:pos x="111" y="5"/>
              </a:cxn>
              <a:cxn ang="0">
                <a:pos x="112" y="3"/>
              </a:cxn>
              <a:cxn ang="0">
                <a:pos x="113" y="0"/>
              </a:cxn>
              <a:cxn ang="0">
                <a:pos x="98" y="4"/>
              </a:cxn>
              <a:cxn ang="0">
                <a:pos x="82" y="8"/>
              </a:cxn>
              <a:cxn ang="0">
                <a:pos x="65" y="13"/>
              </a:cxn>
              <a:cxn ang="0">
                <a:pos x="49" y="19"/>
              </a:cxn>
              <a:cxn ang="0">
                <a:pos x="20" y="33"/>
              </a:cxn>
              <a:cxn ang="0">
                <a:pos x="0" y="44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6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765939" y="3633336"/>
            <a:ext cx="325437" cy="244475"/>
          </a:xfrm>
          <a:custGeom>
            <a:avLst/>
            <a:gdLst/>
            <a:ahLst/>
            <a:cxnLst>
              <a:cxn ang="0">
                <a:pos x="98" y="452"/>
              </a:cxn>
              <a:cxn ang="0">
                <a:pos x="54" y="440"/>
              </a:cxn>
              <a:cxn ang="0">
                <a:pos x="21" y="429"/>
              </a:cxn>
              <a:cxn ang="0">
                <a:pos x="5" y="413"/>
              </a:cxn>
              <a:cxn ang="0">
                <a:pos x="0" y="363"/>
              </a:cxn>
              <a:cxn ang="0">
                <a:pos x="5" y="309"/>
              </a:cxn>
              <a:cxn ang="0">
                <a:pos x="23" y="273"/>
              </a:cxn>
              <a:cxn ang="0">
                <a:pos x="56" y="228"/>
              </a:cxn>
              <a:cxn ang="0">
                <a:pos x="121" y="204"/>
              </a:cxn>
              <a:cxn ang="0">
                <a:pos x="166" y="188"/>
              </a:cxn>
              <a:cxn ang="0">
                <a:pos x="235" y="173"/>
              </a:cxn>
              <a:cxn ang="0">
                <a:pos x="262" y="153"/>
              </a:cxn>
              <a:cxn ang="0">
                <a:pos x="267" y="136"/>
              </a:cxn>
              <a:cxn ang="0">
                <a:pos x="292" y="120"/>
              </a:cxn>
              <a:cxn ang="0">
                <a:pos x="332" y="115"/>
              </a:cxn>
              <a:cxn ang="0">
                <a:pos x="359" y="101"/>
              </a:cxn>
              <a:cxn ang="0">
                <a:pos x="389" y="67"/>
              </a:cxn>
              <a:cxn ang="0">
                <a:pos x="425" y="22"/>
              </a:cxn>
              <a:cxn ang="0">
                <a:pos x="450" y="6"/>
              </a:cxn>
              <a:cxn ang="0">
                <a:pos x="486" y="0"/>
              </a:cxn>
              <a:cxn ang="0">
                <a:pos x="507" y="29"/>
              </a:cxn>
              <a:cxn ang="0">
                <a:pos x="532" y="53"/>
              </a:cxn>
              <a:cxn ang="0">
                <a:pos x="553" y="107"/>
              </a:cxn>
              <a:cxn ang="0">
                <a:pos x="579" y="159"/>
              </a:cxn>
              <a:cxn ang="0">
                <a:pos x="613" y="172"/>
              </a:cxn>
              <a:cxn ang="0">
                <a:pos x="628" y="193"/>
              </a:cxn>
              <a:cxn ang="0">
                <a:pos x="650" y="233"/>
              </a:cxn>
              <a:cxn ang="0">
                <a:pos x="702" y="279"/>
              </a:cxn>
              <a:cxn ang="0">
                <a:pos x="741" y="315"/>
              </a:cxn>
              <a:cxn ang="0">
                <a:pos x="711" y="345"/>
              </a:cxn>
              <a:cxn ang="0">
                <a:pos x="691" y="342"/>
              </a:cxn>
              <a:cxn ang="0">
                <a:pos x="679" y="321"/>
              </a:cxn>
              <a:cxn ang="0">
                <a:pos x="651" y="330"/>
              </a:cxn>
              <a:cxn ang="0">
                <a:pos x="639" y="352"/>
              </a:cxn>
              <a:cxn ang="0">
                <a:pos x="604" y="356"/>
              </a:cxn>
              <a:cxn ang="0">
                <a:pos x="553" y="356"/>
              </a:cxn>
              <a:cxn ang="0">
                <a:pos x="522" y="365"/>
              </a:cxn>
              <a:cxn ang="0">
                <a:pos x="496" y="387"/>
              </a:cxn>
              <a:cxn ang="0">
                <a:pos x="486" y="394"/>
              </a:cxn>
              <a:cxn ang="0">
                <a:pos x="426" y="400"/>
              </a:cxn>
              <a:cxn ang="0">
                <a:pos x="396" y="392"/>
              </a:cxn>
              <a:cxn ang="0">
                <a:pos x="349" y="354"/>
              </a:cxn>
              <a:cxn ang="0">
                <a:pos x="319" y="345"/>
              </a:cxn>
              <a:cxn ang="0">
                <a:pos x="291" y="355"/>
              </a:cxn>
              <a:cxn ang="0">
                <a:pos x="266" y="377"/>
              </a:cxn>
              <a:cxn ang="0">
                <a:pos x="227" y="437"/>
              </a:cxn>
              <a:cxn ang="0">
                <a:pos x="150" y="439"/>
              </a:cxn>
              <a:cxn ang="0">
                <a:pos x="135" y="448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7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702424" y="3801592"/>
            <a:ext cx="500062" cy="552451"/>
          </a:xfrm>
          <a:custGeom>
            <a:avLst/>
            <a:gdLst/>
            <a:ahLst/>
            <a:cxnLst>
              <a:cxn ang="0">
                <a:pos x="902" y="57"/>
              </a:cxn>
              <a:cxn ang="0">
                <a:pos x="993" y="66"/>
              </a:cxn>
              <a:cxn ang="0">
                <a:pos x="1080" y="81"/>
              </a:cxn>
              <a:cxn ang="0">
                <a:pos x="1126" y="175"/>
              </a:cxn>
              <a:cxn ang="0">
                <a:pos x="1133" y="211"/>
              </a:cxn>
              <a:cxn ang="0">
                <a:pos x="1058" y="272"/>
              </a:cxn>
              <a:cxn ang="0">
                <a:pos x="1045" y="360"/>
              </a:cxn>
              <a:cxn ang="0">
                <a:pos x="1003" y="440"/>
              </a:cxn>
              <a:cxn ang="0">
                <a:pos x="990" y="476"/>
              </a:cxn>
              <a:cxn ang="0">
                <a:pos x="1019" y="576"/>
              </a:cxn>
              <a:cxn ang="0">
                <a:pos x="1026" y="664"/>
              </a:cxn>
              <a:cxn ang="0">
                <a:pos x="1047" y="731"/>
              </a:cxn>
              <a:cxn ang="0">
                <a:pos x="1079" y="765"/>
              </a:cxn>
              <a:cxn ang="0">
                <a:pos x="1092" y="825"/>
              </a:cxn>
              <a:cxn ang="0">
                <a:pos x="1040" y="844"/>
              </a:cxn>
              <a:cxn ang="0">
                <a:pos x="997" y="856"/>
              </a:cxn>
              <a:cxn ang="0">
                <a:pos x="960" y="992"/>
              </a:cxn>
              <a:cxn ang="0">
                <a:pos x="930" y="1026"/>
              </a:cxn>
              <a:cxn ang="0">
                <a:pos x="902" y="1031"/>
              </a:cxn>
              <a:cxn ang="0">
                <a:pos x="840" y="1053"/>
              </a:cxn>
              <a:cxn ang="0">
                <a:pos x="782" y="1037"/>
              </a:cxn>
              <a:cxn ang="0">
                <a:pos x="743" y="1014"/>
              </a:cxn>
              <a:cxn ang="0">
                <a:pos x="707" y="997"/>
              </a:cxn>
              <a:cxn ang="0">
                <a:pos x="674" y="986"/>
              </a:cxn>
              <a:cxn ang="0">
                <a:pos x="608" y="987"/>
              </a:cxn>
              <a:cxn ang="0">
                <a:pos x="594" y="942"/>
              </a:cxn>
              <a:cxn ang="0">
                <a:pos x="575" y="884"/>
              </a:cxn>
              <a:cxn ang="0">
                <a:pos x="590" y="846"/>
              </a:cxn>
              <a:cxn ang="0">
                <a:pos x="590" y="779"/>
              </a:cxn>
              <a:cxn ang="0">
                <a:pos x="454" y="755"/>
              </a:cxn>
              <a:cxn ang="0">
                <a:pos x="443" y="785"/>
              </a:cxn>
              <a:cxn ang="0">
                <a:pos x="396" y="817"/>
              </a:cxn>
              <a:cxn ang="0">
                <a:pos x="337" y="797"/>
              </a:cxn>
              <a:cxn ang="0">
                <a:pos x="297" y="708"/>
              </a:cxn>
              <a:cxn ang="0">
                <a:pos x="3" y="671"/>
              </a:cxn>
              <a:cxn ang="0">
                <a:pos x="45" y="667"/>
              </a:cxn>
              <a:cxn ang="0">
                <a:pos x="26" y="631"/>
              </a:cxn>
              <a:cxn ang="0">
                <a:pos x="75" y="615"/>
              </a:cxn>
              <a:cxn ang="0">
                <a:pos x="145" y="614"/>
              </a:cxn>
              <a:cxn ang="0">
                <a:pos x="183" y="620"/>
              </a:cxn>
              <a:cxn ang="0">
                <a:pos x="220" y="574"/>
              </a:cxn>
              <a:cxn ang="0">
                <a:pos x="260" y="555"/>
              </a:cxn>
              <a:cxn ang="0">
                <a:pos x="281" y="440"/>
              </a:cxn>
              <a:cxn ang="0">
                <a:pos x="346" y="370"/>
              </a:cxn>
              <a:cxn ang="0">
                <a:pos x="370" y="276"/>
              </a:cxn>
              <a:cxn ang="0">
                <a:pos x="372" y="180"/>
              </a:cxn>
              <a:cxn ang="0">
                <a:pos x="383" y="122"/>
              </a:cxn>
              <a:cxn ang="0">
                <a:pos x="440" y="35"/>
              </a:cxn>
              <a:cxn ang="0">
                <a:pos x="491" y="30"/>
              </a:cxn>
              <a:cxn ang="0">
                <a:pos x="558" y="77"/>
              </a:cxn>
              <a:cxn ang="0">
                <a:pos x="637" y="73"/>
              </a:cxn>
              <a:cxn ang="0">
                <a:pos x="670" y="44"/>
              </a:cxn>
              <a:cxn ang="0">
                <a:pos x="734" y="34"/>
              </a:cxn>
              <a:cxn ang="0">
                <a:pos x="795" y="17"/>
              </a:cxn>
              <a:cxn ang="0">
                <a:pos x="828" y="8"/>
              </a:cxn>
              <a:cxn ang="0">
                <a:pos x="859" y="24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8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638924" y="3901613"/>
            <a:ext cx="55562" cy="55563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121" y="27"/>
              </a:cxn>
              <a:cxn ang="0">
                <a:pos x="124" y="46"/>
              </a:cxn>
              <a:cxn ang="0">
                <a:pos x="125" y="53"/>
              </a:cxn>
              <a:cxn ang="0">
                <a:pos x="125" y="59"/>
              </a:cxn>
              <a:cxn ang="0">
                <a:pos x="125" y="65"/>
              </a:cxn>
              <a:cxn ang="0">
                <a:pos x="123" y="69"/>
              </a:cxn>
              <a:cxn ang="0">
                <a:pos x="119" y="72"/>
              </a:cxn>
              <a:cxn ang="0">
                <a:pos x="112" y="74"/>
              </a:cxn>
              <a:cxn ang="0">
                <a:pos x="103" y="76"/>
              </a:cxn>
              <a:cxn ang="0">
                <a:pos x="91" y="77"/>
              </a:cxn>
              <a:cxn ang="0">
                <a:pos x="57" y="79"/>
              </a:cxn>
              <a:cxn ang="0">
                <a:pos x="7" y="81"/>
              </a:cxn>
              <a:cxn ang="0">
                <a:pos x="5" y="79"/>
              </a:cxn>
              <a:cxn ang="0">
                <a:pos x="3" y="72"/>
              </a:cxn>
              <a:cxn ang="0">
                <a:pos x="1" y="59"/>
              </a:cxn>
              <a:cxn ang="0">
                <a:pos x="0" y="43"/>
              </a:cxn>
              <a:cxn ang="0">
                <a:pos x="0" y="37"/>
              </a:cxn>
              <a:cxn ang="0">
                <a:pos x="1" y="31"/>
              </a:cxn>
              <a:cxn ang="0">
                <a:pos x="2" y="25"/>
              </a:cxn>
              <a:cxn ang="0">
                <a:pos x="4" y="20"/>
              </a:cxn>
              <a:cxn ang="0">
                <a:pos x="8" y="15"/>
              </a:cxn>
              <a:cxn ang="0">
                <a:pos x="11" y="10"/>
              </a:cxn>
              <a:cxn ang="0">
                <a:pos x="14" y="5"/>
              </a:cxn>
              <a:cxn ang="0">
                <a:pos x="20" y="0"/>
              </a:cxn>
              <a:cxn ang="0">
                <a:pos x="120" y="0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9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621461" y="3901616"/>
            <a:ext cx="152400" cy="201613"/>
          </a:xfrm>
          <a:custGeom>
            <a:avLst/>
            <a:gdLst/>
            <a:ahLst/>
            <a:cxnLst>
              <a:cxn ang="0">
                <a:pos x="262" y="15"/>
              </a:cxn>
              <a:cxn ang="0">
                <a:pos x="257" y="37"/>
              </a:cxn>
              <a:cxn ang="0">
                <a:pos x="264" y="51"/>
              </a:cxn>
              <a:cxn ang="0">
                <a:pos x="283" y="60"/>
              </a:cxn>
              <a:cxn ang="0">
                <a:pos x="319" y="55"/>
              </a:cxn>
              <a:cxn ang="0">
                <a:pos x="332" y="57"/>
              </a:cxn>
              <a:cxn ang="0">
                <a:pos x="340" y="68"/>
              </a:cxn>
              <a:cxn ang="0">
                <a:pos x="345" y="83"/>
              </a:cxn>
              <a:cxn ang="0">
                <a:pos x="351" y="94"/>
              </a:cxn>
              <a:cxn ang="0">
                <a:pos x="345" y="108"/>
              </a:cxn>
              <a:cxn ang="0">
                <a:pos x="320" y="136"/>
              </a:cxn>
              <a:cxn ang="0">
                <a:pos x="348" y="175"/>
              </a:cxn>
              <a:cxn ang="0">
                <a:pos x="355" y="202"/>
              </a:cxn>
              <a:cxn ang="0">
                <a:pos x="353" y="219"/>
              </a:cxn>
              <a:cxn ang="0">
                <a:pos x="345" y="254"/>
              </a:cxn>
              <a:cxn ang="0">
                <a:pos x="333" y="271"/>
              </a:cxn>
              <a:cxn ang="0">
                <a:pos x="312" y="280"/>
              </a:cxn>
              <a:cxn ang="0">
                <a:pos x="286" y="282"/>
              </a:cxn>
              <a:cxn ang="0">
                <a:pos x="270" y="282"/>
              </a:cxn>
              <a:cxn ang="0">
                <a:pos x="252" y="265"/>
              </a:cxn>
              <a:cxn ang="0">
                <a:pos x="240" y="259"/>
              </a:cxn>
              <a:cxn ang="0">
                <a:pos x="221" y="269"/>
              </a:cxn>
              <a:cxn ang="0">
                <a:pos x="205" y="279"/>
              </a:cxn>
              <a:cxn ang="0">
                <a:pos x="194" y="285"/>
              </a:cxn>
              <a:cxn ang="0">
                <a:pos x="185" y="298"/>
              </a:cxn>
              <a:cxn ang="0">
                <a:pos x="187" y="321"/>
              </a:cxn>
              <a:cxn ang="0">
                <a:pos x="207" y="358"/>
              </a:cxn>
              <a:cxn ang="0">
                <a:pos x="195" y="353"/>
              </a:cxn>
              <a:cxn ang="0">
                <a:pos x="177" y="355"/>
              </a:cxn>
              <a:cxn ang="0">
                <a:pos x="162" y="365"/>
              </a:cxn>
              <a:cxn ang="0">
                <a:pos x="146" y="388"/>
              </a:cxn>
              <a:cxn ang="0">
                <a:pos x="123" y="370"/>
              </a:cxn>
              <a:cxn ang="0">
                <a:pos x="113" y="358"/>
              </a:cxn>
              <a:cxn ang="0">
                <a:pos x="96" y="324"/>
              </a:cxn>
              <a:cxn ang="0">
                <a:pos x="50" y="280"/>
              </a:cxn>
              <a:cxn ang="0">
                <a:pos x="22" y="254"/>
              </a:cxn>
              <a:cxn ang="0">
                <a:pos x="5" y="223"/>
              </a:cxn>
              <a:cxn ang="0">
                <a:pos x="1" y="187"/>
              </a:cxn>
              <a:cxn ang="0">
                <a:pos x="11" y="162"/>
              </a:cxn>
              <a:cxn ang="0">
                <a:pos x="41" y="134"/>
              </a:cxn>
              <a:cxn ang="0">
                <a:pos x="54" y="116"/>
              </a:cxn>
              <a:cxn ang="0">
                <a:pos x="56" y="91"/>
              </a:cxn>
              <a:cxn ang="0">
                <a:pos x="108" y="83"/>
              </a:cxn>
              <a:cxn ang="0">
                <a:pos x="156" y="80"/>
              </a:cxn>
              <a:cxn ang="0">
                <a:pos x="172" y="73"/>
              </a:cxn>
              <a:cxn ang="0">
                <a:pos x="177" y="63"/>
              </a:cxn>
              <a:cxn ang="0">
                <a:pos x="174" y="41"/>
              </a:cxn>
              <a:cxn ang="0">
                <a:pos x="167" y="12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0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154861" y="4306418"/>
            <a:ext cx="260350" cy="520700"/>
          </a:xfrm>
          <a:custGeom>
            <a:avLst/>
            <a:gdLst/>
            <a:ahLst/>
            <a:cxnLst>
              <a:cxn ang="0">
                <a:pos x="0" y="259"/>
              </a:cxn>
              <a:cxn ang="0">
                <a:pos x="182" y="224"/>
              </a:cxn>
              <a:cxn ang="0">
                <a:pos x="230" y="240"/>
              </a:cxn>
              <a:cxn ang="0">
                <a:pos x="258" y="258"/>
              </a:cxn>
              <a:cxn ang="0">
                <a:pos x="252" y="296"/>
              </a:cxn>
              <a:cxn ang="0">
                <a:pos x="234" y="327"/>
              </a:cxn>
              <a:cxn ang="0">
                <a:pos x="250" y="357"/>
              </a:cxn>
              <a:cxn ang="0">
                <a:pos x="294" y="365"/>
              </a:cxn>
              <a:cxn ang="0">
                <a:pos x="319" y="340"/>
              </a:cxn>
              <a:cxn ang="0">
                <a:pos x="338" y="317"/>
              </a:cxn>
              <a:cxn ang="0">
                <a:pos x="332" y="261"/>
              </a:cxn>
              <a:cxn ang="0">
                <a:pos x="314" y="204"/>
              </a:cxn>
              <a:cxn ang="0">
                <a:pos x="271" y="157"/>
              </a:cxn>
              <a:cxn ang="0">
                <a:pos x="254" y="125"/>
              </a:cxn>
              <a:cxn ang="0">
                <a:pos x="270" y="62"/>
              </a:cxn>
              <a:cxn ang="0">
                <a:pos x="320" y="55"/>
              </a:cxn>
              <a:cxn ang="0">
                <a:pos x="418" y="60"/>
              </a:cxn>
              <a:cxn ang="0">
                <a:pos x="521" y="36"/>
              </a:cxn>
              <a:cxn ang="0">
                <a:pos x="597" y="3"/>
              </a:cxn>
              <a:cxn ang="0">
                <a:pos x="597" y="30"/>
              </a:cxn>
              <a:cxn ang="0">
                <a:pos x="597" y="126"/>
              </a:cxn>
              <a:cxn ang="0">
                <a:pos x="592" y="228"/>
              </a:cxn>
              <a:cxn ang="0">
                <a:pos x="585" y="276"/>
              </a:cxn>
              <a:cxn ang="0">
                <a:pos x="550" y="337"/>
              </a:cxn>
              <a:cxn ang="0">
                <a:pos x="468" y="402"/>
              </a:cxn>
              <a:cxn ang="0">
                <a:pos x="374" y="426"/>
              </a:cxn>
              <a:cxn ang="0">
                <a:pos x="353" y="464"/>
              </a:cxn>
              <a:cxn ang="0">
                <a:pos x="293" y="507"/>
              </a:cxn>
              <a:cxn ang="0">
                <a:pos x="243" y="549"/>
              </a:cxn>
              <a:cxn ang="0">
                <a:pos x="229" y="582"/>
              </a:cxn>
              <a:cxn ang="0">
                <a:pos x="237" y="619"/>
              </a:cxn>
              <a:cxn ang="0">
                <a:pos x="267" y="654"/>
              </a:cxn>
              <a:cxn ang="0">
                <a:pos x="254" y="694"/>
              </a:cxn>
              <a:cxn ang="0">
                <a:pos x="265" y="729"/>
              </a:cxn>
              <a:cxn ang="0">
                <a:pos x="267" y="790"/>
              </a:cxn>
              <a:cxn ang="0">
                <a:pos x="256" y="814"/>
              </a:cxn>
              <a:cxn ang="0">
                <a:pos x="193" y="873"/>
              </a:cxn>
              <a:cxn ang="0">
                <a:pos x="147" y="887"/>
              </a:cxn>
              <a:cxn ang="0">
                <a:pos x="102" y="894"/>
              </a:cxn>
              <a:cxn ang="0">
                <a:pos x="87" y="913"/>
              </a:cxn>
              <a:cxn ang="0">
                <a:pos x="95" y="939"/>
              </a:cxn>
              <a:cxn ang="0">
                <a:pos x="91" y="992"/>
              </a:cxn>
              <a:cxn ang="0">
                <a:pos x="74" y="810"/>
              </a:cxn>
              <a:cxn ang="0">
                <a:pos x="58" y="765"/>
              </a:cxn>
              <a:cxn ang="0">
                <a:pos x="41" y="720"/>
              </a:cxn>
              <a:cxn ang="0">
                <a:pos x="108" y="666"/>
              </a:cxn>
              <a:cxn ang="0">
                <a:pos x="109" y="614"/>
              </a:cxn>
              <a:cxn ang="0">
                <a:pos x="149" y="571"/>
              </a:cxn>
              <a:cxn ang="0">
                <a:pos x="174" y="526"/>
              </a:cxn>
              <a:cxn ang="0">
                <a:pos x="168" y="441"/>
              </a:cxn>
              <a:cxn ang="0">
                <a:pos x="152" y="364"/>
              </a:cxn>
              <a:cxn ang="0">
                <a:pos x="81" y="341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1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889761" y="4546129"/>
            <a:ext cx="238125" cy="287339"/>
          </a:xfrm>
          <a:custGeom>
            <a:avLst/>
            <a:gdLst/>
            <a:ahLst/>
            <a:cxnLst>
              <a:cxn ang="0">
                <a:pos x="30" y="428"/>
              </a:cxn>
              <a:cxn ang="0">
                <a:pos x="46" y="454"/>
              </a:cxn>
              <a:cxn ang="0">
                <a:pos x="46" y="512"/>
              </a:cxn>
              <a:cxn ang="0">
                <a:pos x="48" y="527"/>
              </a:cxn>
              <a:cxn ang="0">
                <a:pos x="55" y="537"/>
              </a:cxn>
              <a:cxn ang="0">
                <a:pos x="68" y="545"/>
              </a:cxn>
              <a:cxn ang="0">
                <a:pos x="100" y="549"/>
              </a:cxn>
              <a:cxn ang="0">
                <a:pos x="113" y="546"/>
              </a:cxn>
              <a:cxn ang="0">
                <a:pos x="130" y="533"/>
              </a:cxn>
              <a:cxn ang="0">
                <a:pos x="143" y="507"/>
              </a:cxn>
              <a:cxn ang="0">
                <a:pos x="154" y="477"/>
              </a:cxn>
              <a:cxn ang="0">
                <a:pos x="169" y="454"/>
              </a:cxn>
              <a:cxn ang="0">
                <a:pos x="183" y="445"/>
              </a:cxn>
              <a:cxn ang="0">
                <a:pos x="201" y="444"/>
              </a:cxn>
              <a:cxn ang="0">
                <a:pos x="222" y="448"/>
              </a:cxn>
              <a:cxn ang="0">
                <a:pos x="252" y="461"/>
              </a:cxn>
              <a:cxn ang="0">
                <a:pos x="272" y="468"/>
              </a:cxn>
              <a:cxn ang="0">
                <a:pos x="297" y="469"/>
              </a:cxn>
              <a:cxn ang="0">
                <a:pos x="319" y="464"/>
              </a:cxn>
              <a:cxn ang="0">
                <a:pos x="332" y="453"/>
              </a:cxn>
              <a:cxn ang="0">
                <a:pos x="359" y="388"/>
              </a:cxn>
              <a:cxn ang="0">
                <a:pos x="382" y="363"/>
              </a:cxn>
              <a:cxn ang="0">
                <a:pos x="447" y="314"/>
              </a:cxn>
              <a:cxn ang="0">
                <a:pos x="527" y="264"/>
              </a:cxn>
              <a:cxn ang="0">
                <a:pos x="528" y="232"/>
              </a:cxn>
              <a:cxn ang="0">
                <a:pos x="503" y="218"/>
              </a:cxn>
              <a:cxn ang="0">
                <a:pos x="485" y="199"/>
              </a:cxn>
              <a:cxn ang="0">
                <a:pos x="460" y="157"/>
              </a:cxn>
              <a:cxn ang="0">
                <a:pos x="440" y="132"/>
              </a:cxn>
              <a:cxn ang="0">
                <a:pos x="377" y="76"/>
              </a:cxn>
              <a:cxn ang="0">
                <a:pos x="359" y="53"/>
              </a:cxn>
              <a:cxn ang="0">
                <a:pos x="348" y="24"/>
              </a:cxn>
              <a:cxn ang="0">
                <a:pos x="319" y="0"/>
              </a:cxn>
              <a:cxn ang="0">
                <a:pos x="244" y="2"/>
              </a:cxn>
              <a:cxn ang="0">
                <a:pos x="176" y="13"/>
              </a:cxn>
              <a:cxn ang="0">
                <a:pos x="95" y="22"/>
              </a:cxn>
              <a:cxn ang="0">
                <a:pos x="71" y="27"/>
              </a:cxn>
              <a:cxn ang="0">
                <a:pos x="67" y="38"/>
              </a:cxn>
              <a:cxn ang="0">
                <a:pos x="73" y="56"/>
              </a:cxn>
              <a:cxn ang="0">
                <a:pos x="84" y="74"/>
              </a:cxn>
              <a:cxn ang="0">
                <a:pos x="86" y="107"/>
              </a:cxn>
              <a:cxn ang="0">
                <a:pos x="74" y="171"/>
              </a:cxn>
              <a:cxn ang="0">
                <a:pos x="62" y="237"/>
              </a:cxn>
              <a:cxn ang="0">
                <a:pos x="47" y="263"/>
              </a:cxn>
              <a:cxn ang="0">
                <a:pos x="26" y="277"/>
              </a:cxn>
              <a:cxn ang="0">
                <a:pos x="5" y="307"/>
              </a:cxn>
              <a:cxn ang="0">
                <a:pos x="1" y="339"/>
              </a:cxn>
              <a:cxn ang="0">
                <a:pos x="8" y="367"/>
              </a:cxn>
              <a:cxn ang="0">
                <a:pos x="8" y="391"/>
              </a:cxn>
              <a:cxn ang="0">
                <a:pos x="0" y="408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2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462836" y="4347719"/>
            <a:ext cx="196850" cy="434975"/>
          </a:xfrm>
          <a:custGeom>
            <a:avLst/>
            <a:gdLst/>
            <a:ahLst/>
            <a:cxnLst>
              <a:cxn ang="0">
                <a:pos x="112" y="261"/>
              </a:cxn>
              <a:cxn ang="0">
                <a:pos x="138" y="248"/>
              </a:cxn>
              <a:cxn ang="0">
                <a:pos x="165" y="240"/>
              </a:cxn>
              <a:cxn ang="0">
                <a:pos x="192" y="232"/>
              </a:cxn>
              <a:cxn ang="0">
                <a:pos x="215" y="217"/>
              </a:cxn>
              <a:cxn ang="0">
                <a:pos x="232" y="200"/>
              </a:cxn>
              <a:cxn ang="0">
                <a:pos x="232" y="179"/>
              </a:cxn>
              <a:cxn ang="0">
                <a:pos x="265" y="178"/>
              </a:cxn>
              <a:cxn ang="0">
                <a:pos x="282" y="173"/>
              </a:cxn>
              <a:cxn ang="0">
                <a:pos x="298" y="162"/>
              </a:cxn>
              <a:cxn ang="0">
                <a:pos x="320" y="133"/>
              </a:cxn>
              <a:cxn ang="0">
                <a:pos x="350" y="75"/>
              </a:cxn>
              <a:cxn ang="0">
                <a:pos x="378" y="0"/>
              </a:cxn>
              <a:cxn ang="0">
                <a:pos x="385" y="19"/>
              </a:cxn>
              <a:cxn ang="0">
                <a:pos x="407" y="47"/>
              </a:cxn>
              <a:cxn ang="0">
                <a:pos x="448" y="85"/>
              </a:cxn>
              <a:cxn ang="0">
                <a:pos x="440" y="103"/>
              </a:cxn>
              <a:cxn ang="0">
                <a:pos x="444" y="138"/>
              </a:cxn>
              <a:cxn ang="0">
                <a:pos x="452" y="185"/>
              </a:cxn>
              <a:cxn ang="0">
                <a:pos x="448" y="206"/>
              </a:cxn>
              <a:cxn ang="0">
                <a:pos x="428" y="234"/>
              </a:cxn>
              <a:cxn ang="0">
                <a:pos x="409" y="261"/>
              </a:cxn>
              <a:cxn ang="0">
                <a:pos x="405" y="283"/>
              </a:cxn>
              <a:cxn ang="0">
                <a:pos x="393" y="308"/>
              </a:cxn>
              <a:cxn ang="0">
                <a:pos x="383" y="318"/>
              </a:cxn>
              <a:cxn ang="0">
                <a:pos x="377" y="332"/>
              </a:cxn>
              <a:cxn ang="0">
                <a:pos x="368" y="364"/>
              </a:cxn>
              <a:cxn ang="0">
                <a:pos x="338" y="427"/>
              </a:cxn>
              <a:cxn ang="0">
                <a:pos x="321" y="470"/>
              </a:cxn>
              <a:cxn ang="0">
                <a:pos x="318" y="500"/>
              </a:cxn>
              <a:cxn ang="0">
                <a:pos x="310" y="531"/>
              </a:cxn>
              <a:cxn ang="0">
                <a:pos x="281" y="602"/>
              </a:cxn>
              <a:cxn ang="0">
                <a:pos x="260" y="637"/>
              </a:cxn>
              <a:cxn ang="0">
                <a:pos x="242" y="655"/>
              </a:cxn>
              <a:cxn ang="0">
                <a:pos x="232" y="660"/>
              </a:cxn>
              <a:cxn ang="0">
                <a:pos x="228" y="714"/>
              </a:cxn>
              <a:cxn ang="0">
                <a:pos x="215" y="759"/>
              </a:cxn>
              <a:cxn ang="0">
                <a:pos x="191" y="795"/>
              </a:cxn>
              <a:cxn ang="0">
                <a:pos x="157" y="819"/>
              </a:cxn>
              <a:cxn ang="0">
                <a:pos x="110" y="831"/>
              </a:cxn>
              <a:cxn ang="0">
                <a:pos x="80" y="827"/>
              </a:cxn>
              <a:cxn ang="0">
                <a:pos x="73" y="817"/>
              </a:cxn>
              <a:cxn ang="0">
                <a:pos x="50" y="810"/>
              </a:cxn>
              <a:cxn ang="0">
                <a:pos x="26" y="798"/>
              </a:cxn>
              <a:cxn ang="0">
                <a:pos x="12" y="777"/>
              </a:cxn>
              <a:cxn ang="0">
                <a:pos x="3" y="752"/>
              </a:cxn>
              <a:cxn ang="0">
                <a:pos x="0" y="708"/>
              </a:cxn>
              <a:cxn ang="0">
                <a:pos x="4" y="694"/>
              </a:cxn>
              <a:cxn ang="0">
                <a:pos x="19" y="678"/>
              </a:cxn>
              <a:cxn ang="0">
                <a:pos x="11" y="672"/>
              </a:cxn>
              <a:cxn ang="0">
                <a:pos x="0" y="652"/>
              </a:cxn>
              <a:cxn ang="0">
                <a:pos x="5" y="628"/>
              </a:cxn>
              <a:cxn ang="0">
                <a:pos x="8" y="610"/>
              </a:cxn>
              <a:cxn ang="0">
                <a:pos x="5" y="591"/>
              </a:cxn>
              <a:cxn ang="0">
                <a:pos x="18" y="587"/>
              </a:cxn>
              <a:cxn ang="0">
                <a:pos x="43" y="568"/>
              </a:cxn>
              <a:cxn ang="0">
                <a:pos x="63" y="538"/>
              </a:cxn>
              <a:cxn ang="0">
                <a:pos x="76" y="506"/>
              </a:cxn>
              <a:cxn ang="0">
                <a:pos x="86" y="462"/>
              </a:cxn>
              <a:cxn ang="0">
                <a:pos x="83" y="438"/>
              </a:cxn>
              <a:cxn ang="0">
                <a:pos x="70" y="408"/>
              </a:cxn>
              <a:cxn ang="0">
                <a:pos x="56" y="382"/>
              </a:cxn>
              <a:cxn ang="0">
                <a:pos x="53" y="363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3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138990" y="4046071"/>
            <a:ext cx="36513" cy="66675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101"/>
              </a:cxn>
              <a:cxn ang="0">
                <a:pos x="78" y="104"/>
              </a:cxn>
              <a:cxn ang="0">
                <a:pos x="75" y="107"/>
              </a:cxn>
              <a:cxn ang="0">
                <a:pos x="70" y="109"/>
              </a:cxn>
              <a:cxn ang="0">
                <a:pos x="67" y="111"/>
              </a:cxn>
              <a:cxn ang="0">
                <a:pos x="58" y="114"/>
              </a:cxn>
              <a:cxn ang="0">
                <a:pos x="48" y="116"/>
              </a:cxn>
              <a:cxn ang="0">
                <a:pos x="36" y="117"/>
              </a:cxn>
              <a:cxn ang="0">
                <a:pos x="25" y="119"/>
              </a:cxn>
              <a:cxn ang="0">
                <a:pos x="13" y="123"/>
              </a:cxn>
              <a:cxn ang="0">
                <a:pos x="0" y="126"/>
              </a:cxn>
              <a:cxn ang="0">
                <a:pos x="7" y="40"/>
              </a:cxn>
              <a:cxn ang="0">
                <a:pos x="23" y="27"/>
              </a:cxn>
              <a:cxn ang="0">
                <a:pos x="41" y="12"/>
              </a:cxn>
              <a:cxn ang="0">
                <a:pos x="51" y="5"/>
              </a:cxn>
              <a:cxn ang="0">
                <a:pos x="60" y="1"/>
              </a:cxn>
              <a:cxn ang="0">
                <a:pos x="65" y="0"/>
              </a:cxn>
              <a:cxn ang="0">
                <a:pos x="70" y="0"/>
              </a:cxn>
              <a:cxn ang="0">
                <a:pos x="75" y="1"/>
              </a:cxn>
              <a:cxn ang="0">
                <a:pos x="80" y="2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4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127874" y="4006394"/>
            <a:ext cx="55562" cy="60325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16" y="15"/>
              </a:cxn>
              <a:cxn ang="0">
                <a:pos x="122" y="35"/>
              </a:cxn>
              <a:cxn ang="0">
                <a:pos x="124" y="45"/>
              </a:cxn>
              <a:cxn ang="0">
                <a:pos x="124" y="54"/>
              </a:cxn>
              <a:cxn ang="0">
                <a:pos x="124" y="59"/>
              </a:cxn>
              <a:cxn ang="0">
                <a:pos x="123" y="64"/>
              </a:cxn>
              <a:cxn ang="0">
                <a:pos x="122" y="69"/>
              </a:cxn>
              <a:cxn ang="0">
                <a:pos x="119" y="73"/>
              </a:cxn>
              <a:cxn ang="0">
                <a:pos x="114" y="72"/>
              </a:cxn>
              <a:cxn ang="0">
                <a:pos x="108" y="71"/>
              </a:cxn>
              <a:cxn ang="0">
                <a:pos x="103" y="72"/>
              </a:cxn>
              <a:cxn ang="0">
                <a:pos x="96" y="73"/>
              </a:cxn>
              <a:cxn ang="0">
                <a:pos x="83" y="78"/>
              </a:cxn>
              <a:cxn ang="0">
                <a:pos x="71" y="85"/>
              </a:cxn>
              <a:cxn ang="0">
                <a:pos x="46" y="103"/>
              </a:cxn>
              <a:cxn ang="0">
                <a:pos x="26" y="117"/>
              </a:cxn>
              <a:cxn ang="0">
                <a:pos x="23" y="112"/>
              </a:cxn>
              <a:cxn ang="0">
                <a:pos x="13" y="101"/>
              </a:cxn>
              <a:cxn ang="0">
                <a:pos x="4" y="89"/>
              </a:cxn>
              <a:cxn ang="0">
                <a:pos x="0" y="79"/>
              </a:cxn>
              <a:cxn ang="0">
                <a:pos x="1" y="76"/>
              </a:cxn>
              <a:cxn ang="0">
                <a:pos x="2" y="72"/>
              </a:cxn>
              <a:cxn ang="0">
                <a:pos x="5" y="67"/>
              </a:cxn>
              <a:cxn ang="0">
                <a:pos x="9" y="62"/>
              </a:cxn>
              <a:cxn ang="0">
                <a:pos x="17" y="52"/>
              </a:cxn>
              <a:cxn ang="0">
                <a:pos x="27" y="42"/>
              </a:cxn>
              <a:cxn ang="0">
                <a:pos x="48" y="22"/>
              </a:cxn>
              <a:cxn ang="0">
                <a:pos x="60" y="12"/>
              </a:cxn>
              <a:cxn ang="0">
                <a:pos x="73" y="12"/>
              </a:cxn>
              <a:cxn ang="0">
                <a:pos x="86" y="12"/>
              </a:cxn>
              <a:cxn ang="0">
                <a:pos x="100" y="6"/>
              </a:cxn>
              <a:cxn ang="0">
                <a:pos x="113" y="0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5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437436" y="2706244"/>
            <a:ext cx="503238" cy="473075"/>
          </a:xfrm>
          <a:custGeom>
            <a:avLst/>
            <a:gdLst/>
            <a:ahLst/>
            <a:cxnLst>
              <a:cxn ang="0">
                <a:pos x="928" y="191"/>
              </a:cxn>
              <a:cxn ang="0">
                <a:pos x="859" y="162"/>
              </a:cxn>
              <a:cxn ang="0">
                <a:pos x="773" y="111"/>
              </a:cxn>
              <a:cxn ang="0">
                <a:pos x="617" y="104"/>
              </a:cxn>
              <a:cxn ang="0">
                <a:pos x="551" y="154"/>
              </a:cxn>
              <a:cxn ang="0">
                <a:pos x="504" y="179"/>
              </a:cxn>
              <a:cxn ang="0">
                <a:pos x="426" y="197"/>
              </a:cxn>
              <a:cxn ang="0">
                <a:pos x="383" y="199"/>
              </a:cxn>
              <a:cxn ang="0">
                <a:pos x="355" y="173"/>
              </a:cxn>
              <a:cxn ang="0">
                <a:pos x="260" y="136"/>
              </a:cxn>
              <a:cxn ang="0">
                <a:pos x="228" y="86"/>
              </a:cxn>
              <a:cxn ang="0">
                <a:pos x="220" y="23"/>
              </a:cxn>
              <a:cxn ang="0">
                <a:pos x="188" y="1"/>
              </a:cxn>
              <a:cxn ang="0">
                <a:pos x="155" y="21"/>
              </a:cxn>
              <a:cxn ang="0">
                <a:pos x="136" y="67"/>
              </a:cxn>
              <a:cxn ang="0">
                <a:pos x="79" y="54"/>
              </a:cxn>
              <a:cxn ang="0">
                <a:pos x="4" y="16"/>
              </a:cxn>
              <a:cxn ang="0">
                <a:pos x="5" y="72"/>
              </a:cxn>
              <a:cxn ang="0">
                <a:pos x="45" y="146"/>
              </a:cxn>
              <a:cxn ang="0">
                <a:pos x="73" y="205"/>
              </a:cxn>
              <a:cxn ang="0">
                <a:pos x="135" y="284"/>
              </a:cxn>
              <a:cxn ang="0">
                <a:pos x="122" y="316"/>
              </a:cxn>
              <a:cxn ang="0">
                <a:pos x="133" y="370"/>
              </a:cxn>
              <a:cxn ang="0">
                <a:pos x="188" y="428"/>
              </a:cxn>
              <a:cxn ang="0">
                <a:pos x="259" y="456"/>
              </a:cxn>
              <a:cxn ang="0">
                <a:pos x="259" y="524"/>
              </a:cxn>
              <a:cxn ang="0">
                <a:pos x="335" y="581"/>
              </a:cxn>
              <a:cxn ang="0">
                <a:pos x="423" y="664"/>
              </a:cxn>
              <a:cxn ang="0">
                <a:pos x="471" y="720"/>
              </a:cxn>
              <a:cxn ang="0">
                <a:pos x="504" y="733"/>
              </a:cxn>
              <a:cxn ang="0">
                <a:pos x="542" y="755"/>
              </a:cxn>
              <a:cxn ang="0">
                <a:pos x="598" y="787"/>
              </a:cxn>
              <a:cxn ang="0">
                <a:pos x="685" y="795"/>
              </a:cxn>
              <a:cxn ang="0">
                <a:pos x="732" y="780"/>
              </a:cxn>
              <a:cxn ang="0">
                <a:pos x="779" y="764"/>
              </a:cxn>
              <a:cxn ang="0">
                <a:pos x="801" y="796"/>
              </a:cxn>
              <a:cxn ang="0">
                <a:pos x="813" y="857"/>
              </a:cxn>
              <a:cxn ang="0">
                <a:pos x="874" y="874"/>
              </a:cxn>
              <a:cxn ang="0">
                <a:pos x="1011" y="892"/>
              </a:cxn>
              <a:cxn ang="0">
                <a:pos x="1091" y="879"/>
              </a:cxn>
              <a:cxn ang="0">
                <a:pos x="1099" y="831"/>
              </a:cxn>
              <a:cxn ang="0">
                <a:pos x="1156" y="770"/>
              </a:cxn>
              <a:cxn ang="0">
                <a:pos x="1132" y="750"/>
              </a:cxn>
              <a:cxn ang="0">
                <a:pos x="1096" y="708"/>
              </a:cxn>
              <a:cxn ang="0">
                <a:pos x="1031" y="643"/>
              </a:cxn>
              <a:cxn ang="0">
                <a:pos x="1018" y="603"/>
              </a:cxn>
              <a:cxn ang="0">
                <a:pos x="1044" y="559"/>
              </a:cxn>
              <a:cxn ang="0">
                <a:pos x="1048" y="526"/>
              </a:cxn>
              <a:cxn ang="0">
                <a:pos x="1030" y="512"/>
              </a:cxn>
              <a:cxn ang="0">
                <a:pos x="983" y="507"/>
              </a:cxn>
              <a:cxn ang="0">
                <a:pos x="954" y="453"/>
              </a:cxn>
              <a:cxn ang="0">
                <a:pos x="937" y="373"/>
              </a:cxn>
              <a:cxn ang="0">
                <a:pos x="924" y="357"/>
              </a:cxn>
              <a:cxn ang="0">
                <a:pos x="940" y="334"/>
              </a:cxn>
              <a:cxn ang="0">
                <a:pos x="960" y="293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6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461249" y="3363443"/>
            <a:ext cx="247650" cy="228600"/>
          </a:xfrm>
          <a:custGeom>
            <a:avLst/>
            <a:gdLst/>
            <a:ahLst/>
            <a:cxnLst>
              <a:cxn ang="0">
                <a:pos x="26" y="190"/>
              </a:cxn>
              <a:cxn ang="0">
                <a:pos x="37" y="177"/>
              </a:cxn>
              <a:cxn ang="0">
                <a:pos x="41" y="164"/>
              </a:cxn>
              <a:cxn ang="0">
                <a:pos x="39" y="129"/>
              </a:cxn>
              <a:cxn ang="0">
                <a:pos x="44" y="120"/>
              </a:cxn>
              <a:cxn ang="0">
                <a:pos x="55" y="112"/>
              </a:cxn>
              <a:cxn ang="0">
                <a:pos x="68" y="107"/>
              </a:cxn>
              <a:cxn ang="0">
                <a:pos x="80" y="104"/>
              </a:cxn>
              <a:cxn ang="0">
                <a:pos x="103" y="106"/>
              </a:cxn>
              <a:cxn ang="0">
                <a:pos x="124" y="109"/>
              </a:cxn>
              <a:cxn ang="0">
                <a:pos x="158" y="120"/>
              </a:cxn>
              <a:cxn ang="0">
                <a:pos x="184" y="135"/>
              </a:cxn>
              <a:cxn ang="0">
                <a:pos x="206" y="154"/>
              </a:cxn>
              <a:cxn ang="0">
                <a:pos x="254" y="92"/>
              </a:cxn>
              <a:cxn ang="0">
                <a:pos x="285" y="49"/>
              </a:cxn>
              <a:cxn ang="0">
                <a:pos x="538" y="43"/>
              </a:cxn>
              <a:cxn ang="0">
                <a:pos x="557" y="78"/>
              </a:cxn>
              <a:cxn ang="0">
                <a:pos x="562" y="98"/>
              </a:cxn>
              <a:cxn ang="0">
                <a:pos x="564" y="123"/>
              </a:cxn>
              <a:cxn ang="0">
                <a:pos x="568" y="151"/>
              </a:cxn>
              <a:cxn ang="0">
                <a:pos x="571" y="178"/>
              </a:cxn>
              <a:cxn ang="0">
                <a:pos x="564" y="180"/>
              </a:cxn>
              <a:cxn ang="0">
                <a:pos x="562" y="179"/>
              </a:cxn>
              <a:cxn ang="0">
                <a:pos x="558" y="184"/>
              </a:cxn>
              <a:cxn ang="0">
                <a:pos x="548" y="207"/>
              </a:cxn>
              <a:cxn ang="0">
                <a:pos x="534" y="225"/>
              </a:cxn>
              <a:cxn ang="0">
                <a:pos x="515" y="239"/>
              </a:cxn>
              <a:cxn ang="0">
                <a:pos x="494" y="249"/>
              </a:cxn>
              <a:cxn ang="0">
                <a:pos x="405" y="283"/>
              </a:cxn>
              <a:cxn ang="0">
                <a:pos x="347" y="307"/>
              </a:cxn>
              <a:cxn ang="0">
                <a:pos x="295" y="328"/>
              </a:cxn>
              <a:cxn ang="0">
                <a:pos x="245" y="345"/>
              </a:cxn>
              <a:cxn ang="0">
                <a:pos x="186" y="363"/>
              </a:cxn>
              <a:cxn ang="0">
                <a:pos x="167" y="371"/>
              </a:cxn>
              <a:cxn ang="0">
                <a:pos x="149" y="381"/>
              </a:cxn>
              <a:cxn ang="0">
                <a:pos x="119" y="403"/>
              </a:cxn>
              <a:cxn ang="0">
                <a:pos x="92" y="426"/>
              </a:cxn>
              <a:cxn ang="0">
                <a:pos x="67" y="443"/>
              </a:cxn>
              <a:cxn ang="0">
                <a:pos x="50" y="378"/>
              </a:cxn>
              <a:cxn ang="0">
                <a:pos x="33" y="313"/>
              </a:cxn>
              <a:cxn ang="0">
                <a:pos x="16" y="251"/>
              </a:cxn>
              <a:cxn ang="0">
                <a:pos x="0" y="196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7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656511" y="3138017"/>
            <a:ext cx="120650" cy="120651"/>
          </a:xfrm>
          <a:custGeom>
            <a:avLst/>
            <a:gdLst/>
            <a:ahLst/>
            <a:cxnLst>
              <a:cxn ang="0">
                <a:pos x="0" y="111"/>
              </a:cxn>
              <a:cxn ang="0">
                <a:pos x="4" y="109"/>
              </a:cxn>
              <a:cxn ang="0">
                <a:pos x="7" y="109"/>
              </a:cxn>
              <a:cxn ang="0">
                <a:pos x="10" y="110"/>
              </a:cxn>
              <a:cxn ang="0">
                <a:pos x="11" y="111"/>
              </a:cxn>
              <a:cxn ang="0">
                <a:pos x="12" y="117"/>
              </a:cxn>
              <a:cxn ang="0">
                <a:pos x="13" y="123"/>
              </a:cxn>
              <a:cxn ang="0">
                <a:pos x="14" y="128"/>
              </a:cxn>
              <a:cxn ang="0">
                <a:pos x="16" y="131"/>
              </a:cxn>
              <a:cxn ang="0">
                <a:pos x="19" y="134"/>
              </a:cxn>
              <a:cxn ang="0">
                <a:pos x="24" y="136"/>
              </a:cxn>
              <a:cxn ang="0">
                <a:pos x="29" y="137"/>
              </a:cxn>
              <a:cxn ang="0">
                <a:pos x="37" y="138"/>
              </a:cxn>
              <a:cxn ang="0">
                <a:pos x="48" y="138"/>
              </a:cxn>
              <a:cxn ang="0">
                <a:pos x="60" y="136"/>
              </a:cxn>
              <a:cxn ang="0">
                <a:pos x="98" y="130"/>
              </a:cxn>
              <a:cxn ang="0">
                <a:pos x="129" y="122"/>
              </a:cxn>
              <a:cxn ang="0">
                <a:pos x="143" y="118"/>
              </a:cxn>
              <a:cxn ang="0">
                <a:pos x="156" y="114"/>
              </a:cxn>
              <a:cxn ang="0">
                <a:pos x="167" y="109"/>
              </a:cxn>
              <a:cxn ang="0">
                <a:pos x="178" y="103"/>
              </a:cxn>
              <a:cxn ang="0">
                <a:pos x="188" y="96"/>
              </a:cxn>
              <a:cxn ang="0">
                <a:pos x="198" y="87"/>
              </a:cxn>
              <a:cxn ang="0">
                <a:pos x="208" y="78"/>
              </a:cxn>
              <a:cxn ang="0">
                <a:pos x="219" y="65"/>
              </a:cxn>
              <a:cxn ang="0">
                <a:pos x="229" y="52"/>
              </a:cxn>
              <a:cxn ang="0">
                <a:pos x="241" y="37"/>
              </a:cxn>
              <a:cxn ang="0">
                <a:pos x="253" y="20"/>
              </a:cxn>
              <a:cxn ang="0">
                <a:pos x="266" y="0"/>
              </a:cxn>
              <a:cxn ang="0">
                <a:pos x="270" y="7"/>
              </a:cxn>
              <a:cxn ang="0">
                <a:pos x="274" y="13"/>
              </a:cxn>
              <a:cxn ang="0">
                <a:pos x="276" y="20"/>
              </a:cxn>
              <a:cxn ang="0">
                <a:pos x="279" y="27"/>
              </a:cxn>
              <a:cxn ang="0">
                <a:pos x="282" y="42"/>
              </a:cxn>
              <a:cxn ang="0">
                <a:pos x="286" y="62"/>
              </a:cxn>
              <a:cxn ang="0">
                <a:pos x="246" y="198"/>
              </a:cxn>
              <a:cxn ang="0">
                <a:pos x="226" y="228"/>
              </a:cxn>
              <a:cxn ang="0">
                <a:pos x="53" y="210"/>
              </a:cxn>
              <a:cxn ang="0">
                <a:pos x="0" y="111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8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343774" y="2790380"/>
            <a:ext cx="222250" cy="263525"/>
          </a:xfrm>
          <a:custGeom>
            <a:avLst/>
            <a:gdLst/>
            <a:ahLst/>
            <a:cxnLst>
              <a:cxn ang="0">
                <a:pos x="478" y="370"/>
              </a:cxn>
              <a:cxn ang="0">
                <a:pos x="484" y="346"/>
              </a:cxn>
              <a:cxn ang="0">
                <a:pos x="483" y="329"/>
              </a:cxn>
              <a:cxn ang="0">
                <a:pos x="478" y="302"/>
              </a:cxn>
              <a:cxn ang="0">
                <a:pos x="455" y="299"/>
              </a:cxn>
              <a:cxn ang="0">
                <a:pos x="431" y="288"/>
              </a:cxn>
              <a:cxn ang="0">
                <a:pos x="407" y="274"/>
              </a:cxn>
              <a:cxn ang="0">
                <a:pos x="386" y="256"/>
              </a:cxn>
              <a:cxn ang="0">
                <a:pos x="366" y="237"/>
              </a:cxn>
              <a:cxn ang="0">
                <a:pos x="352" y="216"/>
              </a:cxn>
              <a:cxn ang="0">
                <a:pos x="342" y="196"/>
              </a:cxn>
              <a:cxn ang="0">
                <a:pos x="339" y="178"/>
              </a:cxn>
              <a:cxn ang="0">
                <a:pos x="341" y="162"/>
              </a:cxn>
              <a:cxn ang="0">
                <a:pos x="349" y="150"/>
              </a:cxn>
              <a:cxn ang="0">
                <a:pos x="365" y="136"/>
              </a:cxn>
              <a:cxn ang="0">
                <a:pos x="354" y="130"/>
              </a:cxn>
              <a:cxn ang="0">
                <a:pos x="341" y="119"/>
              </a:cxn>
              <a:cxn ang="0">
                <a:pos x="315" y="87"/>
              </a:cxn>
              <a:cxn ang="0">
                <a:pos x="292" y="51"/>
              </a:cxn>
              <a:cxn ang="0">
                <a:pos x="279" y="25"/>
              </a:cxn>
              <a:cxn ang="0">
                <a:pos x="260" y="24"/>
              </a:cxn>
              <a:cxn ang="0">
                <a:pos x="239" y="19"/>
              </a:cxn>
              <a:cxn ang="0">
                <a:pos x="219" y="11"/>
              </a:cxn>
              <a:cxn ang="0">
                <a:pos x="197" y="6"/>
              </a:cxn>
              <a:cxn ang="0">
                <a:pos x="170" y="3"/>
              </a:cxn>
              <a:cxn ang="0">
                <a:pos x="149" y="8"/>
              </a:cxn>
              <a:cxn ang="0">
                <a:pos x="114" y="41"/>
              </a:cxn>
              <a:cxn ang="0">
                <a:pos x="98" y="57"/>
              </a:cxn>
              <a:cxn ang="0">
                <a:pos x="93" y="64"/>
              </a:cxn>
              <a:cxn ang="0">
                <a:pos x="94" y="94"/>
              </a:cxn>
              <a:cxn ang="0">
                <a:pos x="95" y="140"/>
              </a:cxn>
              <a:cxn ang="0">
                <a:pos x="94" y="164"/>
              </a:cxn>
              <a:cxn ang="0">
                <a:pos x="86" y="180"/>
              </a:cxn>
              <a:cxn ang="0">
                <a:pos x="67" y="197"/>
              </a:cxn>
              <a:cxn ang="0">
                <a:pos x="40" y="214"/>
              </a:cxn>
              <a:cxn ang="0">
                <a:pos x="13" y="228"/>
              </a:cxn>
              <a:cxn ang="0">
                <a:pos x="2" y="246"/>
              </a:cxn>
              <a:cxn ang="0">
                <a:pos x="2" y="264"/>
              </a:cxn>
              <a:cxn ang="0">
                <a:pos x="0" y="278"/>
              </a:cxn>
              <a:cxn ang="0">
                <a:pos x="0" y="289"/>
              </a:cxn>
              <a:cxn ang="0">
                <a:pos x="7" y="301"/>
              </a:cxn>
              <a:cxn ang="0">
                <a:pos x="26" y="314"/>
              </a:cxn>
              <a:cxn ang="0">
                <a:pos x="62" y="331"/>
              </a:cxn>
              <a:cxn ang="0">
                <a:pos x="120" y="355"/>
              </a:cxn>
              <a:cxn ang="0">
                <a:pos x="180" y="374"/>
              </a:cxn>
              <a:cxn ang="0">
                <a:pos x="214" y="385"/>
              </a:cxn>
              <a:cxn ang="0">
                <a:pos x="237" y="400"/>
              </a:cxn>
              <a:cxn ang="0">
                <a:pos x="252" y="418"/>
              </a:cxn>
              <a:cxn ang="0">
                <a:pos x="262" y="435"/>
              </a:cxn>
              <a:cxn ang="0">
                <a:pos x="266" y="451"/>
              </a:cxn>
              <a:cxn ang="0">
                <a:pos x="270" y="469"/>
              </a:cxn>
              <a:cxn ang="0">
                <a:pos x="277" y="481"/>
              </a:cxn>
              <a:cxn ang="0">
                <a:pos x="287" y="489"/>
              </a:cxn>
              <a:cxn ang="0">
                <a:pos x="307" y="497"/>
              </a:cxn>
              <a:cxn ang="0">
                <a:pos x="328" y="503"/>
              </a:cxn>
              <a:cxn ang="0">
                <a:pos x="335" y="500"/>
              </a:cxn>
              <a:cxn ang="0">
                <a:pos x="346" y="499"/>
              </a:cxn>
              <a:cxn ang="0">
                <a:pos x="366" y="503"/>
              </a:cxn>
              <a:cxn ang="0">
                <a:pos x="383" y="505"/>
              </a:cxn>
              <a:cxn ang="0">
                <a:pos x="437" y="505"/>
              </a:cxn>
              <a:cxn ang="0">
                <a:pos x="465" y="449"/>
              </a:cxn>
              <a:cxn ang="0">
                <a:pos x="492" y="437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9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843836" y="2750667"/>
            <a:ext cx="331788" cy="290512"/>
          </a:xfrm>
          <a:custGeom>
            <a:avLst/>
            <a:gdLst/>
            <a:ahLst/>
            <a:cxnLst>
              <a:cxn ang="0">
                <a:pos x="62" y="196"/>
              </a:cxn>
              <a:cxn ang="0">
                <a:pos x="93" y="190"/>
              </a:cxn>
              <a:cxn ang="0">
                <a:pos x="128" y="182"/>
              </a:cxn>
              <a:cxn ang="0">
                <a:pos x="175" y="151"/>
              </a:cxn>
              <a:cxn ang="0">
                <a:pos x="194" y="126"/>
              </a:cxn>
              <a:cxn ang="0">
                <a:pos x="199" y="88"/>
              </a:cxn>
              <a:cxn ang="0">
                <a:pos x="208" y="69"/>
              </a:cxn>
              <a:cxn ang="0">
                <a:pos x="240" y="60"/>
              </a:cxn>
              <a:cxn ang="0">
                <a:pos x="294" y="62"/>
              </a:cxn>
              <a:cxn ang="0">
                <a:pos x="329" y="71"/>
              </a:cxn>
              <a:cxn ang="0">
                <a:pos x="362" y="90"/>
              </a:cxn>
              <a:cxn ang="0">
                <a:pos x="386" y="93"/>
              </a:cxn>
              <a:cxn ang="0">
                <a:pos x="419" y="84"/>
              </a:cxn>
              <a:cxn ang="0">
                <a:pos x="460" y="61"/>
              </a:cxn>
              <a:cxn ang="0">
                <a:pos x="479" y="33"/>
              </a:cxn>
              <a:cxn ang="0">
                <a:pos x="508" y="4"/>
              </a:cxn>
              <a:cxn ang="0">
                <a:pos x="530" y="19"/>
              </a:cxn>
              <a:cxn ang="0">
                <a:pos x="550" y="45"/>
              </a:cxn>
              <a:cxn ang="0">
                <a:pos x="561" y="87"/>
              </a:cxn>
              <a:cxn ang="0">
                <a:pos x="570" y="101"/>
              </a:cxn>
              <a:cxn ang="0">
                <a:pos x="589" y="104"/>
              </a:cxn>
              <a:cxn ang="0">
                <a:pos x="622" y="73"/>
              </a:cxn>
              <a:cxn ang="0">
                <a:pos x="743" y="66"/>
              </a:cxn>
              <a:cxn ang="0">
                <a:pos x="759" y="87"/>
              </a:cxn>
              <a:cxn ang="0">
                <a:pos x="679" y="100"/>
              </a:cxn>
              <a:cxn ang="0">
                <a:pos x="605" y="112"/>
              </a:cxn>
              <a:cxn ang="0">
                <a:pos x="574" y="130"/>
              </a:cxn>
              <a:cxn ang="0">
                <a:pos x="571" y="147"/>
              </a:cxn>
              <a:cxn ang="0">
                <a:pos x="582" y="164"/>
              </a:cxn>
              <a:cxn ang="0">
                <a:pos x="601" y="180"/>
              </a:cxn>
              <a:cxn ang="0">
                <a:pos x="604" y="195"/>
              </a:cxn>
              <a:cxn ang="0">
                <a:pos x="594" y="213"/>
              </a:cxn>
              <a:cxn ang="0">
                <a:pos x="574" y="237"/>
              </a:cxn>
              <a:cxn ang="0">
                <a:pos x="565" y="255"/>
              </a:cxn>
              <a:cxn ang="0">
                <a:pos x="542" y="269"/>
              </a:cxn>
              <a:cxn ang="0">
                <a:pos x="519" y="310"/>
              </a:cxn>
              <a:cxn ang="0">
                <a:pos x="508" y="363"/>
              </a:cxn>
              <a:cxn ang="0">
                <a:pos x="497" y="425"/>
              </a:cxn>
              <a:cxn ang="0">
                <a:pos x="477" y="412"/>
              </a:cxn>
              <a:cxn ang="0">
                <a:pos x="460" y="407"/>
              </a:cxn>
              <a:cxn ang="0">
                <a:pos x="439" y="418"/>
              </a:cxn>
              <a:cxn ang="0">
                <a:pos x="411" y="440"/>
              </a:cxn>
              <a:cxn ang="0">
                <a:pos x="393" y="444"/>
              </a:cxn>
              <a:cxn ang="0">
                <a:pos x="375" y="463"/>
              </a:cxn>
              <a:cxn ang="0">
                <a:pos x="365" y="511"/>
              </a:cxn>
              <a:cxn ang="0">
                <a:pos x="350" y="525"/>
              </a:cxn>
              <a:cxn ang="0">
                <a:pos x="270" y="546"/>
              </a:cxn>
              <a:cxn ang="0">
                <a:pos x="194" y="554"/>
              </a:cxn>
              <a:cxn ang="0">
                <a:pos x="113" y="542"/>
              </a:cxn>
              <a:cxn ang="0">
                <a:pos x="95" y="518"/>
              </a:cxn>
              <a:cxn ang="0">
                <a:pos x="115" y="488"/>
              </a:cxn>
              <a:cxn ang="0">
                <a:pos x="125" y="462"/>
              </a:cxn>
              <a:cxn ang="0">
                <a:pos x="123" y="442"/>
              </a:cxn>
              <a:cxn ang="0">
                <a:pos x="111" y="433"/>
              </a:cxn>
              <a:cxn ang="0">
                <a:pos x="69" y="431"/>
              </a:cxn>
              <a:cxn ang="0">
                <a:pos x="52" y="421"/>
              </a:cxn>
              <a:cxn ang="0">
                <a:pos x="34" y="384"/>
              </a:cxn>
              <a:cxn ang="0">
                <a:pos x="19" y="309"/>
              </a:cxn>
              <a:cxn ang="0">
                <a:pos x="10" y="291"/>
              </a:cxn>
              <a:cxn ang="0">
                <a:pos x="0" y="280"/>
              </a:cxn>
              <a:cxn ang="0">
                <a:pos x="2" y="268"/>
              </a:cxn>
              <a:cxn ang="0">
                <a:pos x="22" y="248"/>
              </a:cxn>
              <a:cxn ang="0">
                <a:pos x="34" y="221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0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875592" y="2799906"/>
            <a:ext cx="365125" cy="423863"/>
          </a:xfrm>
          <a:custGeom>
            <a:avLst/>
            <a:gdLst/>
            <a:ahLst/>
            <a:cxnLst>
              <a:cxn ang="0">
                <a:pos x="779" y="82"/>
              </a:cxn>
              <a:cxn ang="0">
                <a:pos x="707" y="29"/>
              </a:cxn>
              <a:cxn ang="0">
                <a:pos x="562" y="10"/>
              </a:cxn>
              <a:cxn ang="0">
                <a:pos x="499" y="29"/>
              </a:cxn>
              <a:cxn ang="0">
                <a:pos x="486" y="49"/>
              </a:cxn>
              <a:cxn ang="0">
                <a:pos x="497" y="71"/>
              </a:cxn>
              <a:cxn ang="0">
                <a:pos x="517" y="90"/>
              </a:cxn>
              <a:cxn ang="0">
                <a:pos x="516" y="111"/>
              </a:cxn>
              <a:cxn ang="0">
                <a:pos x="491" y="140"/>
              </a:cxn>
              <a:cxn ang="0">
                <a:pos x="480" y="162"/>
              </a:cxn>
              <a:cxn ang="0">
                <a:pos x="450" y="184"/>
              </a:cxn>
              <a:cxn ang="0">
                <a:pos x="427" y="243"/>
              </a:cxn>
              <a:cxn ang="0">
                <a:pos x="420" y="332"/>
              </a:cxn>
              <a:cxn ang="0">
                <a:pos x="392" y="319"/>
              </a:cxn>
              <a:cxn ang="0">
                <a:pos x="370" y="315"/>
              </a:cxn>
              <a:cxn ang="0">
                <a:pos x="338" y="339"/>
              </a:cxn>
              <a:cxn ang="0">
                <a:pos x="313" y="351"/>
              </a:cxn>
              <a:cxn ang="0">
                <a:pos x="290" y="370"/>
              </a:cxn>
              <a:cxn ang="0">
                <a:pos x="280" y="424"/>
              </a:cxn>
              <a:cxn ang="0">
                <a:pos x="235" y="442"/>
              </a:cxn>
              <a:cxn ang="0">
                <a:pos x="127" y="462"/>
              </a:cxn>
              <a:cxn ang="0">
                <a:pos x="26" y="449"/>
              </a:cxn>
              <a:cxn ang="0">
                <a:pos x="51" y="505"/>
              </a:cxn>
              <a:cxn ang="0">
                <a:pos x="96" y="540"/>
              </a:cxn>
              <a:cxn ang="0">
                <a:pos x="123" y="577"/>
              </a:cxn>
              <a:cxn ang="0">
                <a:pos x="142" y="596"/>
              </a:cxn>
              <a:cxn ang="0">
                <a:pos x="99" y="647"/>
              </a:cxn>
              <a:cxn ang="0">
                <a:pos x="87" y="671"/>
              </a:cxn>
              <a:cxn ang="0">
                <a:pos x="109" y="720"/>
              </a:cxn>
              <a:cxn ang="0">
                <a:pos x="222" y="710"/>
              </a:cxn>
              <a:cxn ang="0">
                <a:pos x="302" y="705"/>
              </a:cxn>
              <a:cxn ang="0">
                <a:pos x="330" y="721"/>
              </a:cxn>
              <a:cxn ang="0">
                <a:pos x="359" y="756"/>
              </a:cxn>
              <a:cxn ang="0">
                <a:pos x="408" y="785"/>
              </a:cxn>
              <a:cxn ang="0">
                <a:pos x="449" y="803"/>
              </a:cxn>
              <a:cxn ang="0">
                <a:pos x="460" y="791"/>
              </a:cxn>
              <a:cxn ang="0">
                <a:pos x="487" y="774"/>
              </a:cxn>
              <a:cxn ang="0">
                <a:pos x="554" y="764"/>
              </a:cxn>
              <a:cxn ang="0">
                <a:pos x="597" y="750"/>
              </a:cxn>
              <a:cxn ang="0">
                <a:pos x="618" y="727"/>
              </a:cxn>
              <a:cxn ang="0">
                <a:pos x="584" y="700"/>
              </a:cxn>
              <a:cxn ang="0">
                <a:pos x="542" y="641"/>
              </a:cxn>
              <a:cxn ang="0">
                <a:pos x="526" y="624"/>
              </a:cxn>
              <a:cxn ang="0">
                <a:pos x="526" y="578"/>
              </a:cxn>
              <a:cxn ang="0">
                <a:pos x="582" y="563"/>
              </a:cxn>
              <a:cxn ang="0">
                <a:pos x="622" y="531"/>
              </a:cxn>
              <a:cxn ang="0">
                <a:pos x="688" y="417"/>
              </a:cxn>
              <a:cxn ang="0">
                <a:pos x="730" y="368"/>
              </a:cxn>
              <a:cxn ang="0">
                <a:pos x="725" y="330"/>
              </a:cxn>
              <a:cxn ang="0">
                <a:pos x="729" y="305"/>
              </a:cxn>
              <a:cxn ang="0">
                <a:pos x="751" y="289"/>
              </a:cxn>
              <a:cxn ang="0">
                <a:pos x="670" y="207"/>
              </a:cxn>
              <a:cxn ang="0">
                <a:pos x="758" y="140"/>
              </a:cxn>
              <a:cxn ang="0">
                <a:pos x="805" y="123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1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666167" y="3068193"/>
            <a:ext cx="220663" cy="585787"/>
          </a:xfrm>
          <a:custGeom>
            <a:avLst/>
            <a:gdLst/>
            <a:ahLst/>
            <a:cxnLst>
              <a:cxn ang="0">
                <a:pos x="438" y="1067"/>
              </a:cxn>
              <a:cxn ang="0">
                <a:pos x="443" y="1028"/>
              </a:cxn>
              <a:cxn ang="0">
                <a:pos x="399" y="1022"/>
              </a:cxn>
              <a:cxn ang="0">
                <a:pos x="405" y="957"/>
              </a:cxn>
              <a:cxn ang="0">
                <a:pos x="419" y="931"/>
              </a:cxn>
              <a:cxn ang="0">
                <a:pos x="413" y="899"/>
              </a:cxn>
              <a:cxn ang="0">
                <a:pos x="398" y="893"/>
              </a:cxn>
              <a:cxn ang="0">
                <a:pos x="382" y="838"/>
              </a:cxn>
              <a:cxn ang="0">
                <a:pos x="324" y="719"/>
              </a:cxn>
              <a:cxn ang="0">
                <a:pos x="296" y="703"/>
              </a:cxn>
              <a:cxn ang="0">
                <a:pos x="282" y="718"/>
              </a:cxn>
              <a:cxn ang="0">
                <a:pos x="226" y="742"/>
              </a:cxn>
              <a:cxn ang="0">
                <a:pos x="169" y="736"/>
              </a:cxn>
              <a:cxn ang="0">
                <a:pos x="133" y="567"/>
              </a:cxn>
              <a:cxn ang="0">
                <a:pos x="101" y="520"/>
              </a:cxn>
              <a:cxn ang="0">
                <a:pos x="51" y="502"/>
              </a:cxn>
              <a:cxn ang="0">
                <a:pos x="8" y="471"/>
              </a:cxn>
              <a:cxn ang="0">
                <a:pos x="23" y="445"/>
              </a:cxn>
              <a:cxn ang="0">
                <a:pos x="58" y="361"/>
              </a:cxn>
              <a:cxn ang="0">
                <a:pos x="67" y="277"/>
              </a:cxn>
              <a:cxn ang="0">
                <a:pos x="80" y="265"/>
              </a:cxn>
              <a:cxn ang="0">
                <a:pos x="113" y="258"/>
              </a:cxn>
              <a:cxn ang="0">
                <a:pos x="134" y="222"/>
              </a:cxn>
              <a:cxn ang="0">
                <a:pos x="140" y="117"/>
              </a:cxn>
              <a:cxn ang="0">
                <a:pos x="159" y="98"/>
              </a:cxn>
              <a:cxn ang="0">
                <a:pos x="213" y="74"/>
              </a:cxn>
              <a:cxn ang="0">
                <a:pos x="234" y="21"/>
              </a:cxn>
              <a:cxn ang="0">
                <a:pos x="277" y="31"/>
              </a:cxn>
              <a:cxn ang="0">
                <a:pos x="312" y="49"/>
              </a:cxn>
              <a:cxn ang="0">
                <a:pos x="337" y="122"/>
              </a:cxn>
              <a:cxn ang="0">
                <a:pos x="335" y="167"/>
              </a:cxn>
              <a:cxn ang="0">
                <a:pos x="300" y="216"/>
              </a:cxn>
              <a:cxn ang="0">
                <a:pos x="293" y="245"/>
              </a:cxn>
              <a:cxn ang="0">
                <a:pos x="309" y="261"/>
              </a:cxn>
              <a:cxn ang="0">
                <a:pos x="346" y="270"/>
              </a:cxn>
              <a:cxn ang="0">
                <a:pos x="371" y="291"/>
              </a:cxn>
              <a:cxn ang="0">
                <a:pos x="398" y="345"/>
              </a:cxn>
              <a:cxn ang="0">
                <a:pos x="430" y="400"/>
              </a:cxn>
              <a:cxn ang="0">
                <a:pos x="464" y="418"/>
              </a:cxn>
              <a:cxn ang="0">
                <a:pos x="505" y="418"/>
              </a:cxn>
              <a:cxn ang="0">
                <a:pos x="476" y="494"/>
              </a:cxn>
              <a:cxn ang="0">
                <a:pos x="427" y="510"/>
              </a:cxn>
              <a:cxn ang="0">
                <a:pos x="383" y="528"/>
              </a:cxn>
              <a:cxn ang="0">
                <a:pos x="360" y="572"/>
              </a:cxn>
              <a:cxn ang="0">
                <a:pos x="370" y="637"/>
              </a:cxn>
              <a:cxn ang="0">
                <a:pos x="402" y="683"/>
              </a:cxn>
              <a:cxn ang="0">
                <a:pos x="430" y="735"/>
              </a:cxn>
              <a:cxn ang="0">
                <a:pos x="428" y="776"/>
              </a:cxn>
              <a:cxn ang="0">
                <a:pos x="419" y="801"/>
              </a:cxn>
              <a:cxn ang="0">
                <a:pos x="435" y="851"/>
              </a:cxn>
              <a:cxn ang="0">
                <a:pos x="483" y="965"/>
              </a:cxn>
              <a:cxn ang="0">
                <a:pos x="458" y="1082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2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989641" y="3577753"/>
            <a:ext cx="80963" cy="58739"/>
          </a:xfrm>
          <a:custGeom>
            <a:avLst/>
            <a:gdLst/>
            <a:ahLst/>
            <a:cxnLst>
              <a:cxn ang="0">
                <a:pos x="180" y="7"/>
              </a:cxn>
              <a:cxn ang="0">
                <a:pos x="171" y="24"/>
              </a:cxn>
              <a:cxn ang="0">
                <a:pos x="163" y="39"/>
              </a:cxn>
              <a:cxn ang="0">
                <a:pos x="152" y="53"/>
              </a:cxn>
              <a:cxn ang="0">
                <a:pos x="141" y="66"/>
              </a:cxn>
              <a:cxn ang="0">
                <a:pos x="129" y="80"/>
              </a:cxn>
              <a:cxn ang="0">
                <a:pos x="115" y="92"/>
              </a:cxn>
              <a:cxn ang="0">
                <a:pos x="101" y="102"/>
              </a:cxn>
              <a:cxn ang="0">
                <a:pos x="87" y="112"/>
              </a:cxn>
              <a:cxn ang="0">
                <a:pos x="82" y="107"/>
              </a:cxn>
              <a:cxn ang="0">
                <a:pos x="79" y="101"/>
              </a:cxn>
              <a:cxn ang="0">
                <a:pos x="76" y="95"/>
              </a:cxn>
              <a:cxn ang="0">
                <a:pos x="74" y="88"/>
              </a:cxn>
              <a:cxn ang="0">
                <a:pos x="70" y="81"/>
              </a:cxn>
              <a:cxn ang="0">
                <a:pos x="68" y="74"/>
              </a:cxn>
              <a:cxn ang="0">
                <a:pos x="65" y="69"/>
              </a:cxn>
              <a:cxn ang="0">
                <a:pos x="60" y="63"/>
              </a:cxn>
              <a:cxn ang="0">
                <a:pos x="45" y="48"/>
              </a:cxn>
              <a:cxn ang="0">
                <a:pos x="36" y="38"/>
              </a:cxn>
              <a:cxn ang="0">
                <a:pos x="30" y="33"/>
              </a:cxn>
              <a:cxn ang="0">
                <a:pos x="25" y="31"/>
              </a:cxn>
              <a:cxn ang="0">
                <a:pos x="18" y="30"/>
              </a:cxn>
              <a:cxn ang="0">
                <a:pos x="0" y="26"/>
              </a:cxn>
              <a:cxn ang="0">
                <a:pos x="26" y="14"/>
              </a:cxn>
              <a:cxn ang="0">
                <a:pos x="41" y="9"/>
              </a:cxn>
              <a:cxn ang="0">
                <a:pos x="56" y="5"/>
              </a:cxn>
              <a:cxn ang="0">
                <a:pos x="74" y="3"/>
              </a:cxn>
              <a:cxn ang="0">
                <a:pos x="93" y="1"/>
              </a:cxn>
              <a:cxn ang="0">
                <a:pos x="114" y="0"/>
              </a:cxn>
              <a:cxn ang="0">
                <a:pos x="135" y="1"/>
              </a:cxn>
              <a:cxn ang="0">
                <a:pos x="157" y="3"/>
              </a:cxn>
              <a:cxn ang="0">
                <a:pos x="180" y="7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3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4073774" y="3660331"/>
            <a:ext cx="74612" cy="100013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27" y="42"/>
              </a:cxn>
              <a:cxn ang="0">
                <a:pos x="51" y="21"/>
              </a:cxn>
              <a:cxn ang="0">
                <a:pos x="56" y="16"/>
              </a:cxn>
              <a:cxn ang="0">
                <a:pos x="63" y="12"/>
              </a:cxn>
              <a:cxn ang="0">
                <a:pos x="70" y="8"/>
              </a:cxn>
              <a:cxn ang="0">
                <a:pos x="76" y="6"/>
              </a:cxn>
              <a:cxn ang="0">
                <a:pos x="83" y="3"/>
              </a:cxn>
              <a:cxn ang="0">
                <a:pos x="90" y="2"/>
              </a:cxn>
              <a:cxn ang="0">
                <a:pos x="98" y="1"/>
              </a:cxn>
              <a:cxn ang="0">
                <a:pos x="107" y="0"/>
              </a:cxn>
              <a:cxn ang="0">
                <a:pos x="116" y="1"/>
              </a:cxn>
              <a:cxn ang="0">
                <a:pos x="124" y="2"/>
              </a:cxn>
              <a:cxn ang="0">
                <a:pos x="132" y="5"/>
              </a:cxn>
              <a:cxn ang="0">
                <a:pos x="139" y="8"/>
              </a:cxn>
              <a:cxn ang="0">
                <a:pos x="145" y="13"/>
              </a:cxn>
              <a:cxn ang="0">
                <a:pos x="151" y="19"/>
              </a:cxn>
              <a:cxn ang="0">
                <a:pos x="155" y="24"/>
              </a:cxn>
              <a:cxn ang="0">
                <a:pos x="160" y="30"/>
              </a:cxn>
              <a:cxn ang="0">
                <a:pos x="163" y="37"/>
              </a:cxn>
              <a:cxn ang="0">
                <a:pos x="166" y="43"/>
              </a:cxn>
              <a:cxn ang="0">
                <a:pos x="168" y="50"/>
              </a:cxn>
              <a:cxn ang="0">
                <a:pos x="169" y="57"/>
              </a:cxn>
              <a:cxn ang="0">
                <a:pos x="172" y="72"/>
              </a:cxn>
              <a:cxn ang="0">
                <a:pos x="173" y="87"/>
              </a:cxn>
              <a:cxn ang="0">
                <a:pos x="157" y="114"/>
              </a:cxn>
              <a:cxn ang="0">
                <a:pos x="146" y="137"/>
              </a:cxn>
              <a:cxn ang="0">
                <a:pos x="139" y="148"/>
              </a:cxn>
              <a:cxn ang="0">
                <a:pos x="130" y="160"/>
              </a:cxn>
              <a:cxn ang="0">
                <a:pos x="117" y="174"/>
              </a:cxn>
              <a:cxn ang="0">
                <a:pos x="99" y="192"/>
              </a:cxn>
              <a:cxn ang="0">
                <a:pos x="86" y="183"/>
              </a:cxn>
              <a:cxn ang="0">
                <a:pos x="74" y="176"/>
              </a:cxn>
              <a:cxn ang="0">
                <a:pos x="63" y="169"/>
              </a:cxn>
              <a:cxn ang="0">
                <a:pos x="54" y="163"/>
              </a:cxn>
              <a:cxn ang="0">
                <a:pos x="46" y="156"/>
              </a:cxn>
              <a:cxn ang="0">
                <a:pos x="40" y="150"/>
              </a:cxn>
              <a:cxn ang="0">
                <a:pos x="34" y="144"/>
              </a:cxn>
              <a:cxn ang="0">
                <a:pos x="30" y="137"/>
              </a:cxn>
              <a:cxn ang="0">
                <a:pos x="22" y="123"/>
              </a:cxn>
              <a:cxn ang="0">
                <a:pos x="16" y="107"/>
              </a:cxn>
              <a:cxn ang="0">
                <a:pos x="9" y="90"/>
              </a:cxn>
              <a:cxn ang="0">
                <a:pos x="0" y="68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4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4116643" y="3711122"/>
            <a:ext cx="104775" cy="131763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83" y="2"/>
              </a:cxn>
              <a:cxn ang="0">
                <a:pos x="89" y="3"/>
              </a:cxn>
              <a:cxn ang="0">
                <a:pos x="95" y="3"/>
              </a:cxn>
              <a:cxn ang="0">
                <a:pos x="99" y="2"/>
              </a:cxn>
              <a:cxn ang="0">
                <a:pos x="106" y="1"/>
              </a:cxn>
              <a:cxn ang="0">
                <a:pos x="113" y="0"/>
              </a:cxn>
              <a:cxn ang="0">
                <a:pos x="125" y="17"/>
              </a:cxn>
              <a:cxn ang="0">
                <a:pos x="140" y="37"/>
              </a:cxn>
              <a:cxn ang="0">
                <a:pos x="144" y="42"/>
              </a:cxn>
              <a:cxn ang="0">
                <a:pos x="148" y="46"/>
              </a:cxn>
              <a:cxn ang="0">
                <a:pos x="153" y="49"/>
              </a:cxn>
              <a:cxn ang="0">
                <a:pos x="157" y="52"/>
              </a:cxn>
              <a:cxn ang="0">
                <a:pos x="163" y="54"/>
              </a:cxn>
              <a:cxn ang="0">
                <a:pos x="168" y="56"/>
              </a:cxn>
              <a:cxn ang="0">
                <a:pos x="174" y="56"/>
              </a:cxn>
              <a:cxn ang="0">
                <a:pos x="180" y="56"/>
              </a:cxn>
              <a:cxn ang="0">
                <a:pos x="180" y="80"/>
              </a:cxn>
              <a:cxn ang="0">
                <a:pos x="193" y="103"/>
              </a:cxn>
              <a:cxn ang="0">
                <a:pos x="212" y="128"/>
              </a:cxn>
              <a:cxn ang="0">
                <a:pos x="215" y="135"/>
              </a:cxn>
              <a:cxn ang="0">
                <a:pos x="220" y="142"/>
              </a:cxn>
              <a:cxn ang="0">
                <a:pos x="223" y="151"/>
              </a:cxn>
              <a:cxn ang="0">
                <a:pos x="226" y="160"/>
              </a:cxn>
              <a:cxn ang="0">
                <a:pos x="230" y="170"/>
              </a:cxn>
              <a:cxn ang="0">
                <a:pos x="232" y="180"/>
              </a:cxn>
              <a:cxn ang="0">
                <a:pos x="233" y="191"/>
              </a:cxn>
              <a:cxn ang="0">
                <a:pos x="233" y="204"/>
              </a:cxn>
              <a:cxn ang="0">
                <a:pos x="232" y="216"/>
              </a:cxn>
              <a:cxn ang="0">
                <a:pos x="230" y="228"/>
              </a:cxn>
              <a:cxn ang="0">
                <a:pos x="227" y="240"/>
              </a:cxn>
              <a:cxn ang="0">
                <a:pos x="226" y="252"/>
              </a:cxn>
              <a:cxn ang="0">
                <a:pos x="222" y="252"/>
              </a:cxn>
              <a:cxn ang="0">
                <a:pos x="215" y="250"/>
              </a:cxn>
              <a:cxn ang="0">
                <a:pos x="208" y="246"/>
              </a:cxn>
              <a:cxn ang="0">
                <a:pos x="198" y="241"/>
              </a:cxn>
              <a:cxn ang="0">
                <a:pos x="176" y="226"/>
              </a:cxn>
              <a:cxn ang="0">
                <a:pos x="151" y="208"/>
              </a:cxn>
              <a:cxn ang="0">
                <a:pos x="125" y="186"/>
              </a:cxn>
              <a:cxn ang="0">
                <a:pos x="100" y="165"/>
              </a:cxn>
              <a:cxn ang="0">
                <a:pos x="78" y="145"/>
              </a:cxn>
              <a:cxn ang="0">
                <a:pos x="61" y="129"/>
              </a:cxn>
              <a:cxn ang="0">
                <a:pos x="55" y="125"/>
              </a:cxn>
              <a:cxn ang="0">
                <a:pos x="48" y="120"/>
              </a:cxn>
              <a:cxn ang="0">
                <a:pos x="41" y="116"/>
              </a:cxn>
              <a:cxn ang="0">
                <a:pos x="33" y="112"/>
              </a:cxn>
              <a:cxn ang="0">
                <a:pos x="17" y="104"/>
              </a:cxn>
              <a:cxn ang="0">
                <a:pos x="0" y="99"/>
              </a:cxn>
              <a:cxn ang="0">
                <a:pos x="40" y="63"/>
              </a:cxn>
              <a:cxn ang="0">
                <a:pos x="59" y="43"/>
              </a:cxn>
              <a:cxn ang="0">
                <a:pos x="65" y="33"/>
              </a:cxn>
              <a:cxn ang="0">
                <a:pos x="69" y="25"/>
              </a:cxn>
              <a:cxn ang="0">
                <a:pos x="72" y="14"/>
              </a:cxn>
              <a:cxn ang="0">
                <a:pos x="74" y="0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5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330955" y="3630143"/>
            <a:ext cx="104775" cy="201612"/>
          </a:xfrm>
          <a:custGeom>
            <a:avLst/>
            <a:gdLst/>
            <a:ahLst/>
            <a:cxnLst>
              <a:cxn ang="0">
                <a:pos x="13" y="376"/>
              </a:cxn>
              <a:cxn ang="0">
                <a:pos x="14" y="367"/>
              </a:cxn>
              <a:cxn ang="0">
                <a:pos x="15" y="359"/>
              </a:cxn>
              <a:cxn ang="0">
                <a:pos x="18" y="351"/>
              </a:cxn>
              <a:cxn ang="0">
                <a:pos x="20" y="344"/>
              </a:cxn>
              <a:cxn ang="0">
                <a:pos x="25" y="333"/>
              </a:cxn>
              <a:cxn ang="0">
                <a:pos x="26" y="327"/>
              </a:cxn>
              <a:cxn ang="0">
                <a:pos x="25" y="321"/>
              </a:cxn>
              <a:cxn ang="0">
                <a:pos x="23" y="314"/>
              </a:cxn>
              <a:cxn ang="0">
                <a:pos x="19" y="305"/>
              </a:cxn>
              <a:cxn ang="0">
                <a:pos x="13" y="295"/>
              </a:cxn>
              <a:cxn ang="0">
                <a:pos x="9" y="285"/>
              </a:cxn>
              <a:cxn ang="0">
                <a:pos x="4" y="275"/>
              </a:cxn>
              <a:cxn ang="0">
                <a:pos x="1" y="267"/>
              </a:cxn>
              <a:cxn ang="0">
                <a:pos x="0" y="259"/>
              </a:cxn>
              <a:cxn ang="0">
                <a:pos x="1" y="251"/>
              </a:cxn>
              <a:cxn ang="0">
                <a:pos x="2" y="243"/>
              </a:cxn>
              <a:cxn ang="0">
                <a:pos x="3" y="236"/>
              </a:cxn>
              <a:cxn ang="0">
                <a:pos x="6" y="230"/>
              </a:cxn>
              <a:cxn ang="0">
                <a:pos x="11" y="218"/>
              </a:cxn>
              <a:cxn ang="0">
                <a:pos x="19" y="207"/>
              </a:cxn>
              <a:cxn ang="0">
                <a:pos x="26" y="197"/>
              </a:cxn>
              <a:cxn ang="0">
                <a:pos x="34" y="185"/>
              </a:cxn>
              <a:cxn ang="0">
                <a:pos x="41" y="173"/>
              </a:cxn>
              <a:cxn ang="0">
                <a:pos x="47" y="160"/>
              </a:cxn>
              <a:cxn ang="0">
                <a:pos x="26" y="73"/>
              </a:cxn>
              <a:cxn ang="0">
                <a:pos x="26" y="50"/>
              </a:cxn>
              <a:cxn ang="0">
                <a:pos x="24" y="33"/>
              </a:cxn>
              <a:cxn ang="0">
                <a:pos x="24" y="25"/>
              </a:cxn>
              <a:cxn ang="0">
                <a:pos x="24" y="16"/>
              </a:cxn>
              <a:cxn ang="0">
                <a:pos x="25" y="8"/>
              </a:cxn>
              <a:cxn ang="0">
                <a:pos x="26" y="0"/>
              </a:cxn>
              <a:cxn ang="0">
                <a:pos x="180" y="0"/>
              </a:cxn>
              <a:cxn ang="0">
                <a:pos x="220" y="129"/>
              </a:cxn>
              <a:cxn ang="0">
                <a:pos x="220" y="210"/>
              </a:cxn>
              <a:cxn ang="0">
                <a:pos x="220" y="220"/>
              </a:cxn>
              <a:cxn ang="0">
                <a:pos x="221" y="230"/>
              </a:cxn>
              <a:cxn ang="0">
                <a:pos x="223" y="240"/>
              </a:cxn>
              <a:cxn ang="0">
                <a:pos x="225" y="250"/>
              </a:cxn>
              <a:cxn ang="0">
                <a:pos x="228" y="259"/>
              </a:cxn>
              <a:cxn ang="0">
                <a:pos x="234" y="268"/>
              </a:cxn>
              <a:cxn ang="0">
                <a:pos x="239" y="278"/>
              </a:cxn>
              <a:cxn ang="0">
                <a:pos x="246" y="289"/>
              </a:cxn>
              <a:cxn ang="0">
                <a:pos x="224" y="295"/>
              </a:cxn>
              <a:cxn ang="0">
                <a:pos x="202" y="302"/>
              </a:cxn>
              <a:cxn ang="0">
                <a:pos x="181" y="310"/>
              </a:cxn>
              <a:cxn ang="0">
                <a:pos x="160" y="319"/>
              </a:cxn>
              <a:cxn ang="0">
                <a:pos x="141" y="328"/>
              </a:cxn>
              <a:cxn ang="0">
                <a:pos x="120" y="338"/>
              </a:cxn>
              <a:cxn ang="0">
                <a:pos x="100" y="347"/>
              </a:cxn>
              <a:cxn ang="0">
                <a:pos x="80" y="358"/>
              </a:cxn>
              <a:cxn ang="0">
                <a:pos x="75" y="363"/>
              </a:cxn>
              <a:cxn ang="0">
                <a:pos x="69" y="367"/>
              </a:cxn>
              <a:cxn ang="0">
                <a:pos x="62" y="372"/>
              </a:cxn>
              <a:cxn ang="0">
                <a:pos x="54" y="376"/>
              </a:cxn>
              <a:cxn ang="0">
                <a:pos x="46" y="379"/>
              </a:cxn>
              <a:cxn ang="0">
                <a:pos x="36" y="380"/>
              </a:cxn>
              <a:cxn ang="0">
                <a:pos x="31" y="380"/>
              </a:cxn>
              <a:cxn ang="0">
                <a:pos x="25" y="379"/>
              </a:cxn>
              <a:cxn ang="0">
                <a:pos x="20" y="378"/>
              </a:cxn>
              <a:cxn ang="0">
                <a:pos x="13" y="376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983301" y="3546004"/>
            <a:ext cx="87313" cy="58739"/>
          </a:xfrm>
          <a:custGeom>
            <a:avLst/>
            <a:gdLst/>
            <a:ahLst/>
            <a:cxnLst>
              <a:cxn ang="0">
                <a:pos x="7" y="20"/>
              </a:cxn>
              <a:cxn ang="0">
                <a:pos x="38" y="11"/>
              </a:cxn>
              <a:cxn ang="0">
                <a:pos x="67" y="5"/>
              </a:cxn>
              <a:cxn ang="0">
                <a:pos x="80" y="3"/>
              </a:cxn>
              <a:cxn ang="0">
                <a:pos x="94" y="2"/>
              </a:cxn>
              <a:cxn ang="0">
                <a:pos x="110" y="1"/>
              </a:cxn>
              <a:cxn ang="0">
                <a:pos x="126" y="0"/>
              </a:cxn>
              <a:cxn ang="0">
                <a:pos x="138" y="1"/>
              </a:cxn>
              <a:cxn ang="0">
                <a:pos x="149" y="1"/>
              </a:cxn>
              <a:cxn ang="0">
                <a:pos x="160" y="2"/>
              </a:cxn>
              <a:cxn ang="0">
                <a:pos x="169" y="4"/>
              </a:cxn>
              <a:cxn ang="0">
                <a:pos x="178" y="6"/>
              </a:cxn>
              <a:cxn ang="0">
                <a:pos x="184" y="11"/>
              </a:cxn>
              <a:cxn ang="0">
                <a:pos x="187" y="13"/>
              </a:cxn>
              <a:cxn ang="0">
                <a:pos x="189" y="18"/>
              </a:cxn>
              <a:cxn ang="0">
                <a:pos x="191" y="21"/>
              </a:cxn>
              <a:cxn ang="0">
                <a:pos x="193" y="26"/>
              </a:cxn>
              <a:cxn ang="0">
                <a:pos x="183" y="27"/>
              </a:cxn>
              <a:cxn ang="0">
                <a:pos x="173" y="28"/>
              </a:cxn>
              <a:cxn ang="0">
                <a:pos x="165" y="28"/>
              </a:cxn>
              <a:cxn ang="0">
                <a:pos x="156" y="28"/>
              </a:cxn>
              <a:cxn ang="0">
                <a:pos x="138" y="27"/>
              </a:cxn>
              <a:cxn ang="0">
                <a:pos x="120" y="26"/>
              </a:cxn>
              <a:cxn ang="0">
                <a:pos x="103" y="26"/>
              </a:cxn>
              <a:cxn ang="0">
                <a:pos x="89" y="28"/>
              </a:cxn>
              <a:cxn ang="0">
                <a:pos x="76" y="30"/>
              </a:cxn>
              <a:cxn ang="0">
                <a:pos x="63" y="32"/>
              </a:cxn>
              <a:cxn ang="0">
                <a:pos x="49" y="34"/>
              </a:cxn>
              <a:cxn ang="0">
                <a:pos x="35" y="36"/>
              </a:cxn>
              <a:cxn ang="0">
                <a:pos x="19" y="37"/>
              </a:cxn>
              <a:cxn ang="0">
                <a:pos x="0" y="38"/>
              </a:cxn>
              <a:cxn ang="0">
                <a:pos x="0" y="33"/>
              </a:cxn>
              <a:cxn ang="0">
                <a:pos x="1" y="29"/>
              </a:cxn>
              <a:cxn ang="0">
                <a:pos x="3" y="24"/>
              </a:cxn>
              <a:cxn ang="0">
                <a:pos x="7" y="20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7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408751" y="3623819"/>
            <a:ext cx="42863" cy="155575"/>
          </a:xfrm>
          <a:custGeom>
            <a:avLst/>
            <a:gdLst/>
            <a:ahLst/>
            <a:cxnLst>
              <a:cxn ang="0">
                <a:pos x="53" y="12"/>
              </a:cxn>
              <a:cxn ang="0">
                <a:pos x="59" y="12"/>
              </a:cxn>
              <a:cxn ang="0">
                <a:pos x="59" y="19"/>
              </a:cxn>
              <a:cxn ang="0">
                <a:pos x="62" y="26"/>
              </a:cxn>
              <a:cxn ang="0">
                <a:pos x="63" y="33"/>
              </a:cxn>
              <a:cxn ang="0">
                <a:pos x="66" y="42"/>
              </a:cxn>
              <a:cxn ang="0">
                <a:pos x="72" y="58"/>
              </a:cxn>
              <a:cxn ang="0">
                <a:pos x="79" y="75"/>
              </a:cxn>
              <a:cxn ang="0">
                <a:pos x="87" y="93"/>
              </a:cxn>
              <a:cxn ang="0">
                <a:pos x="93" y="111"/>
              </a:cxn>
              <a:cxn ang="0">
                <a:pos x="96" y="120"/>
              </a:cxn>
              <a:cxn ang="0">
                <a:pos x="98" y="129"/>
              </a:cxn>
              <a:cxn ang="0">
                <a:pos x="99" y="138"/>
              </a:cxn>
              <a:cxn ang="0">
                <a:pos x="99" y="148"/>
              </a:cxn>
              <a:cxn ang="0">
                <a:pos x="99" y="289"/>
              </a:cxn>
              <a:cxn ang="0">
                <a:pos x="89" y="290"/>
              </a:cxn>
              <a:cxn ang="0">
                <a:pos x="80" y="293"/>
              </a:cxn>
              <a:cxn ang="0">
                <a:pos x="73" y="297"/>
              </a:cxn>
              <a:cxn ang="0">
                <a:pos x="66" y="301"/>
              </a:cxn>
              <a:cxn ang="0">
                <a:pos x="59" y="290"/>
              </a:cxn>
              <a:cxn ang="0">
                <a:pos x="54" y="280"/>
              </a:cxn>
              <a:cxn ang="0">
                <a:pos x="48" y="271"/>
              </a:cxn>
              <a:cxn ang="0">
                <a:pos x="45" y="262"/>
              </a:cxn>
              <a:cxn ang="0">
                <a:pos x="43" y="252"/>
              </a:cxn>
              <a:cxn ang="0">
                <a:pos x="41" y="242"/>
              </a:cxn>
              <a:cxn ang="0">
                <a:pos x="40" y="232"/>
              </a:cxn>
              <a:cxn ang="0">
                <a:pos x="40" y="222"/>
              </a:cxn>
              <a:cxn ang="0">
                <a:pos x="40" y="141"/>
              </a:cxn>
              <a:cxn ang="0">
                <a:pos x="0" y="6"/>
              </a:cxn>
              <a:cxn ang="0">
                <a:pos x="5" y="2"/>
              </a:cxn>
              <a:cxn ang="0">
                <a:pos x="10" y="0"/>
              </a:cxn>
              <a:cxn ang="0">
                <a:pos x="14" y="0"/>
              </a:cxn>
              <a:cxn ang="0">
                <a:pos x="20" y="0"/>
              </a:cxn>
              <a:cxn ang="0">
                <a:pos x="26" y="0"/>
              </a:cxn>
              <a:cxn ang="0">
                <a:pos x="32" y="2"/>
              </a:cxn>
              <a:cxn ang="0">
                <a:pos x="37" y="4"/>
              </a:cxn>
              <a:cxn ang="0">
                <a:pos x="41" y="6"/>
              </a:cxn>
              <a:cxn ang="0">
                <a:pos x="47" y="10"/>
              </a:cxn>
              <a:cxn ang="0">
                <a:pos x="53" y="12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8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434136" y="3585692"/>
            <a:ext cx="76200" cy="188912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9" y="72"/>
              </a:cxn>
              <a:cxn ang="0">
                <a:pos x="17" y="65"/>
              </a:cxn>
              <a:cxn ang="0">
                <a:pos x="25" y="60"/>
              </a:cxn>
              <a:cxn ang="0">
                <a:pos x="33" y="56"/>
              </a:cxn>
              <a:cxn ang="0">
                <a:pos x="40" y="50"/>
              </a:cxn>
              <a:cxn ang="0">
                <a:pos x="67" y="50"/>
              </a:cxn>
              <a:cxn ang="0">
                <a:pos x="94" y="0"/>
              </a:cxn>
              <a:cxn ang="0">
                <a:pos x="101" y="3"/>
              </a:cxn>
              <a:cxn ang="0">
                <a:pos x="108" y="7"/>
              </a:cxn>
              <a:cxn ang="0">
                <a:pos x="116" y="12"/>
              </a:cxn>
              <a:cxn ang="0">
                <a:pos x="123" y="18"/>
              </a:cxn>
              <a:cxn ang="0">
                <a:pos x="131" y="22"/>
              </a:cxn>
              <a:cxn ang="0">
                <a:pos x="139" y="27"/>
              </a:cxn>
              <a:cxn ang="0">
                <a:pos x="145" y="29"/>
              </a:cxn>
              <a:cxn ang="0">
                <a:pos x="153" y="30"/>
              </a:cxn>
              <a:cxn ang="0">
                <a:pos x="163" y="39"/>
              </a:cxn>
              <a:cxn ang="0">
                <a:pos x="173" y="50"/>
              </a:cxn>
              <a:cxn ang="0">
                <a:pos x="173" y="61"/>
              </a:cxn>
              <a:cxn ang="0">
                <a:pos x="173" y="69"/>
              </a:cxn>
              <a:cxn ang="0">
                <a:pos x="173" y="80"/>
              </a:cxn>
              <a:cxn ang="0">
                <a:pos x="173" y="98"/>
              </a:cxn>
              <a:cxn ang="0">
                <a:pos x="173" y="109"/>
              </a:cxn>
              <a:cxn ang="0">
                <a:pos x="171" y="118"/>
              </a:cxn>
              <a:cxn ang="0">
                <a:pos x="167" y="127"/>
              </a:cxn>
              <a:cxn ang="0">
                <a:pos x="163" y="135"/>
              </a:cxn>
              <a:cxn ang="0">
                <a:pos x="152" y="151"/>
              </a:cxn>
              <a:cxn ang="0">
                <a:pos x="140" y="167"/>
              </a:cxn>
              <a:cxn ang="0">
                <a:pos x="128" y="183"/>
              </a:cxn>
              <a:cxn ang="0">
                <a:pos x="117" y="200"/>
              </a:cxn>
              <a:cxn ang="0">
                <a:pos x="112" y="209"/>
              </a:cxn>
              <a:cxn ang="0">
                <a:pos x="109" y="219"/>
              </a:cxn>
              <a:cxn ang="0">
                <a:pos x="108" y="229"/>
              </a:cxn>
              <a:cxn ang="0">
                <a:pos x="107" y="240"/>
              </a:cxn>
              <a:cxn ang="0">
                <a:pos x="108" y="273"/>
              </a:cxn>
              <a:cxn ang="0">
                <a:pos x="109" y="293"/>
              </a:cxn>
              <a:cxn ang="0">
                <a:pos x="110" y="302"/>
              </a:cxn>
              <a:cxn ang="0">
                <a:pos x="109" y="313"/>
              </a:cxn>
              <a:cxn ang="0">
                <a:pos x="109" y="327"/>
              </a:cxn>
              <a:cxn ang="0">
                <a:pos x="107" y="345"/>
              </a:cxn>
              <a:cxn ang="0">
                <a:pos x="97" y="346"/>
              </a:cxn>
              <a:cxn ang="0">
                <a:pos x="88" y="347"/>
              </a:cxn>
              <a:cxn ang="0">
                <a:pos x="79" y="349"/>
              </a:cxn>
              <a:cxn ang="0">
                <a:pos x="71" y="351"/>
              </a:cxn>
              <a:cxn ang="0">
                <a:pos x="63" y="353"/>
              </a:cxn>
              <a:cxn ang="0">
                <a:pos x="55" y="355"/>
              </a:cxn>
              <a:cxn ang="0">
                <a:pos x="48" y="357"/>
              </a:cxn>
              <a:cxn ang="0">
                <a:pos x="40" y="357"/>
              </a:cxn>
              <a:cxn ang="0">
                <a:pos x="40" y="216"/>
              </a:cxn>
              <a:cxn ang="0">
                <a:pos x="40" y="206"/>
              </a:cxn>
              <a:cxn ang="0">
                <a:pos x="39" y="197"/>
              </a:cxn>
              <a:cxn ang="0">
                <a:pos x="37" y="188"/>
              </a:cxn>
              <a:cxn ang="0">
                <a:pos x="34" y="179"/>
              </a:cxn>
              <a:cxn ang="0">
                <a:pos x="28" y="161"/>
              </a:cxn>
              <a:cxn ang="0">
                <a:pos x="20" y="143"/>
              </a:cxn>
              <a:cxn ang="0">
                <a:pos x="13" y="126"/>
              </a:cxn>
              <a:cxn ang="0">
                <a:pos x="7" y="110"/>
              </a:cxn>
              <a:cxn ang="0">
                <a:pos x="4" y="101"/>
              </a:cxn>
              <a:cxn ang="0">
                <a:pos x="3" y="94"/>
              </a:cxn>
              <a:cxn ang="0">
                <a:pos x="0" y="87"/>
              </a:cxn>
              <a:cxn ang="0">
                <a:pos x="0" y="80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9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5162802" y="4790631"/>
            <a:ext cx="25400" cy="60325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6" y="14"/>
              </a:cxn>
              <a:cxn ang="0">
                <a:pos x="2" y="26"/>
              </a:cxn>
              <a:cxn ang="0">
                <a:pos x="0" y="36"/>
              </a:cxn>
              <a:cxn ang="0">
                <a:pos x="0" y="43"/>
              </a:cxn>
              <a:cxn ang="0">
                <a:pos x="0" y="50"/>
              </a:cxn>
              <a:cxn ang="0">
                <a:pos x="2" y="56"/>
              </a:cxn>
              <a:cxn ang="0">
                <a:pos x="6" y="61"/>
              </a:cxn>
              <a:cxn ang="0">
                <a:pos x="10" y="68"/>
              </a:cxn>
              <a:cxn ang="0">
                <a:pos x="50" y="74"/>
              </a:cxn>
              <a:cxn ang="0">
                <a:pos x="50" y="51"/>
              </a:cxn>
              <a:cxn ang="0">
                <a:pos x="50" y="34"/>
              </a:cxn>
              <a:cxn ang="0">
                <a:pos x="50" y="19"/>
              </a:cxn>
              <a:cxn ang="0">
                <a:pos x="50" y="0"/>
              </a:cxn>
              <a:cxn ang="0">
                <a:pos x="38" y="0"/>
              </a:cxn>
              <a:cxn ang="0">
                <a:pos x="25" y="0"/>
              </a:cxn>
              <a:cxn ang="0">
                <a:pos x="14" y="0"/>
              </a:cxn>
              <a:cxn ang="0">
                <a:pos x="10" y="0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0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5058026" y="4887442"/>
            <a:ext cx="61912" cy="57151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275761" y="2601441"/>
            <a:ext cx="120650" cy="171451"/>
          </a:xfrm>
          <a:custGeom>
            <a:avLst/>
            <a:gdLst/>
            <a:ahLst/>
            <a:cxnLst>
              <a:cxn ang="0">
                <a:pos x="240" y="9"/>
              </a:cxn>
              <a:cxn ang="0">
                <a:pos x="240" y="28"/>
              </a:cxn>
              <a:cxn ang="0">
                <a:pos x="249" y="42"/>
              </a:cxn>
              <a:cxn ang="0">
                <a:pos x="245" y="55"/>
              </a:cxn>
              <a:cxn ang="0">
                <a:pos x="225" y="50"/>
              </a:cxn>
              <a:cxn ang="0">
                <a:pos x="210" y="51"/>
              </a:cxn>
              <a:cxn ang="0">
                <a:pos x="195" y="65"/>
              </a:cxn>
              <a:cxn ang="0">
                <a:pos x="193" y="78"/>
              </a:cxn>
              <a:cxn ang="0">
                <a:pos x="198" y="89"/>
              </a:cxn>
              <a:cxn ang="0">
                <a:pos x="215" y="110"/>
              </a:cxn>
              <a:cxn ang="0">
                <a:pos x="224" y="122"/>
              </a:cxn>
              <a:cxn ang="0">
                <a:pos x="225" y="133"/>
              </a:cxn>
              <a:cxn ang="0">
                <a:pos x="222" y="143"/>
              </a:cxn>
              <a:cxn ang="0">
                <a:pos x="207" y="154"/>
              </a:cxn>
              <a:cxn ang="0">
                <a:pos x="200" y="160"/>
              </a:cxn>
              <a:cxn ang="0">
                <a:pos x="181" y="166"/>
              </a:cxn>
              <a:cxn ang="0">
                <a:pos x="164" y="178"/>
              </a:cxn>
              <a:cxn ang="0">
                <a:pos x="160" y="191"/>
              </a:cxn>
              <a:cxn ang="0">
                <a:pos x="173" y="207"/>
              </a:cxn>
              <a:cxn ang="0">
                <a:pos x="189" y="215"/>
              </a:cxn>
              <a:cxn ang="0">
                <a:pos x="214" y="227"/>
              </a:cxn>
              <a:cxn ang="0">
                <a:pos x="245" y="259"/>
              </a:cxn>
              <a:cxn ang="0">
                <a:pos x="251" y="285"/>
              </a:cxn>
              <a:cxn ang="0">
                <a:pos x="220" y="291"/>
              </a:cxn>
              <a:cxn ang="0">
                <a:pos x="207" y="298"/>
              </a:cxn>
              <a:cxn ang="0">
                <a:pos x="198" y="312"/>
              </a:cxn>
              <a:cxn ang="0">
                <a:pos x="189" y="326"/>
              </a:cxn>
              <a:cxn ang="0">
                <a:pos x="170" y="321"/>
              </a:cxn>
              <a:cxn ang="0">
                <a:pos x="167" y="316"/>
              </a:cxn>
              <a:cxn ang="0">
                <a:pos x="154" y="310"/>
              </a:cxn>
              <a:cxn ang="0">
                <a:pos x="139" y="301"/>
              </a:cxn>
              <a:cxn ang="0">
                <a:pos x="126" y="295"/>
              </a:cxn>
              <a:cxn ang="0">
                <a:pos x="98" y="290"/>
              </a:cxn>
              <a:cxn ang="0">
                <a:pos x="63" y="277"/>
              </a:cxn>
              <a:cxn ang="0">
                <a:pos x="54" y="268"/>
              </a:cxn>
              <a:cxn ang="0">
                <a:pos x="55" y="256"/>
              </a:cxn>
              <a:cxn ang="0">
                <a:pos x="70" y="244"/>
              </a:cxn>
              <a:cxn ang="0">
                <a:pos x="59" y="221"/>
              </a:cxn>
              <a:cxn ang="0">
                <a:pos x="34" y="194"/>
              </a:cxn>
              <a:cxn ang="0">
                <a:pos x="13" y="182"/>
              </a:cxn>
              <a:cxn ang="0">
                <a:pos x="4" y="171"/>
              </a:cxn>
              <a:cxn ang="0">
                <a:pos x="19" y="152"/>
              </a:cxn>
              <a:cxn ang="0">
                <a:pos x="54" y="124"/>
              </a:cxn>
              <a:cxn ang="0">
                <a:pos x="73" y="105"/>
              </a:cxn>
              <a:cxn ang="0">
                <a:pos x="88" y="92"/>
              </a:cxn>
              <a:cxn ang="0">
                <a:pos x="110" y="88"/>
              </a:cxn>
              <a:cxn ang="0">
                <a:pos x="144" y="70"/>
              </a:cxn>
              <a:cxn ang="0">
                <a:pos x="168" y="46"/>
              </a:cxn>
              <a:cxn ang="0">
                <a:pos x="191" y="21"/>
              </a:cxn>
              <a:cxn ang="0">
                <a:pos x="220" y="4"/>
              </a:cxn>
              <a:cxn ang="0">
                <a:pos x="238" y="0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2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347089" y="3015806"/>
            <a:ext cx="206375" cy="123825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3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562978" y="3071370"/>
            <a:ext cx="73025" cy="65087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4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553454" y="3142779"/>
            <a:ext cx="133350" cy="166688"/>
          </a:xfrm>
          <a:custGeom>
            <a:avLst/>
            <a:gdLst/>
            <a:ahLst/>
            <a:cxnLst>
              <a:cxn ang="0">
                <a:pos x="259" y="160"/>
              </a:cxn>
              <a:cxn ang="0">
                <a:pos x="252" y="173"/>
              </a:cxn>
              <a:cxn ang="0">
                <a:pos x="243" y="182"/>
              </a:cxn>
              <a:cxn ang="0">
                <a:pos x="233" y="186"/>
              </a:cxn>
              <a:cxn ang="0">
                <a:pos x="223" y="184"/>
              </a:cxn>
              <a:cxn ang="0">
                <a:pos x="214" y="178"/>
              </a:cxn>
              <a:cxn ang="0">
                <a:pos x="209" y="169"/>
              </a:cxn>
              <a:cxn ang="0">
                <a:pos x="206" y="160"/>
              </a:cxn>
              <a:cxn ang="0">
                <a:pos x="209" y="148"/>
              </a:cxn>
              <a:cxn ang="0">
                <a:pos x="213" y="136"/>
              </a:cxn>
              <a:cxn ang="0">
                <a:pos x="230" y="114"/>
              </a:cxn>
              <a:cxn ang="0">
                <a:pos x="246" y="93"/>
              </a:cxn>
              <a:cxn ang="0">
                <a:pos x="250" y="82"/>
              </a:cxn>
              <a:cxn ang="0">
                <a:pos x="253" y="69"/>
              </a:cxn>
              <a:cxn ang="0">
                <a:pos x="129" y="68"/>
              </a:cxn>
              <a:cxn ang="0">
                <a:pos x="119" y="59"/>
              </a:cxn>
              <a:cxn ang="0">
                <a:pos x="112" y="45"/>
              </a:cxn>
              <a:cxn ang="0">
                <a:pos x="108" y="28"/>
              </a:cxn>
              <a:cxn ang="0">
                <a:pos x="101" y="19"/>
              </a:cxn>
              <a:cxn ang="0">
                <a:pos x="90" y="17"/>
              </a:cxn>
              <a:cxn ang="0">
                <a:pos x="80" y="12"/>
              </a:cxn>
              <a:cxn ang="0">
                <a:pos x="75" y="4"/>
              </a:cxn>
              <a:cxn ang="0">
                <a:pos x="65" y="0"/>
              </a:cxn>
              <a:cxn ang="0">
                <a:pos x="49" y="0"/>
              </a:cxn>
              <a:cxn ang="0">
                <a:pos x="34" y="1"/>
              </a:cxn>
              <a:cxn ang="0">
                <a:pos x="22" y="5"/>
              </a:cxn>
              <a:cxn ang="0">
                <a:pos x="10" y="14"/>
              </a:cxn>
              <a:cxn ang="0">
                <a:pos x="1" y="25"/>
              </a:cxn>
              <a:cxn ang="0">
                <a:pos x="2" y="35"/>
              </a:cxn>
              <a:cxn ang="0">
                <a:pos x="15" y="46"/>
              </a:cxn>
              <a:cxn ang="0">
                <a:pos x="35" y="58"/>
              </a:cxn>
              <a:cxn ang="0">
                <a:pos x="54" y="67"/>
              </a:cxn>
              <a:cxn ang="0">
                <a:pos x="47" y="79"/>
              </a:cxn>
              <a:cxn ang="0">
                <a:pos x="25" y="97"/>
              </a:cxn>
              <a:cxn ang="0">
                <a:pos x="17" y="107"/>
              </a:cxn>
              <a:cxn ang="0">
                <a:pos x="14" y="114"/>
              </a:cxn>
              <a:cxn ang="0">
                <a:pos x="14" y="122"/>
              </a:cxn>
              <a:cxn ang="0">
                <a:pos x="18" y="129"/>
              </a:cxn>
              <a:cxn ang="0">
                <a:pos x="28" y="141"/>
              </a:cxn>
              <a:cxn ang="0">
                <a:pos x="47" y="156"/>
              </a:cxn>
              <a:cxn ang="0">
                <a:pos x="64" y="164"/>
              </a:cxn>
              <a:cxn ang="0">
                <a:pos x="75" y="166"/>
              </a:cxn>
              <a:cxn ang="0">
                <a:pos x="107" y="271"/>
              </a:cxn>
              <a:cxn ang="0">
                <a:pos x="108" y="263"/>
              </a:cxn>
              <a:cxn ang="0">
                <a:pos x="112" y="256"/>
              </a:cxn>
              <a:cxn ang="0">
                <a:pos x="127" y="246"/>
              </a:cxn>
              <a:cxn ang="0">
                <a:pos x="148" y="240"/>
              </a:cxn>
              <a:cxn ang="0">
                <a:pos x="174" y="235"/>
              </a:cxn>
              <a:cxn ang="0">
                <a:pos x="174" y="210"/>
              </a:cxn>
              <a:cxn ang="0">
                <a:pos x="183" y="212"/>
              </a:cxn>
              <a:cxn ang="0">
                <a:pos x="193" y="212"/>
              </a:cxn>
              <a:cxn ang="0">
                <a:pos x="213" y="210"/>
              </a:cxn>
              <a:cxn ang="0">
                <a:pos x="232" y="261"/>
              </a:cxn>
              <a:cxn ang="0">
                <a:pos x="259" y="321"/>
              </a:cxn>
              <a:cxn ang="0">
                <a:pos x="272" y="311"/>
              </a:cxn>
              <a:cxn ang="0">
                <a:pos x="282" y="302"/>
              </a:cxn>
              <a:cxn ang="0">
                <a:pos x="295" y="280"/>
              </a:cxn>
              <a:cxn ang="0">
                <a:pos x="306" y="23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5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870952" y="3258693"/>
            <a:ext cx="201612" cy="269875"/>
          </a:xfrm>
          <a:custGeom>
            <a:avLst/>
            <a:gdLst/>
            <a:ahLst/>
            <a:cxnLst>
              <a:cxn ang="0">
                <a:pos x="94" y="12"/>
              </a:cxn>
              <a:cxn ang="0">
                <a:pos x="67" y="32"/>
              </a:cxn>
              <a:cxn ang="0">
                <a:pos x="40" y="49"/>
              </a:cxn>
              <a:cxn ang="0">
                <a:pos x="27" y="82"/>
              </a:cxn>
              <a:cxn ang="0">
                <a:pos x="8" y="118"/>
              </a:cxn>
              <a:cxn ang="0">
                <a:pos x="7" y="136"/>
              </a:cxn>
              <a:cxn ang="0">
                <a:pos x="30" y="153"/>
              </a:cxn>
              <a:cxn ang="0">
                <a:pos x="50" y="168"/>
              </a:cxn>
              <a:cxn ang="0">
                <a:pos x="62" y="172"/>
              </a:cxn>
              <a:cxn ang="0">
                <a:pos x="75" y="211"/>
              </a:cxn>
              <a:cxn ang="0">
                <a:pos x="84" y="272"/>
              </a:cxn>
              <a:cxn ang="0">
                <a:pos x="94" y="299"/>
              </a:cxn>
              <a:cxn ang="0">
                <a:pos x="104" y="302"/>
              </a:cxn>
              <a:cxn ang="0">
                <a:pos x="112" y="297"/>
              </a:cxn>
              <a:cxn ang="0">
                <a:pos x="128" y="268"/>
              </a:cxn>
              <a:cxn ang="0">
                <a:pos x="145" y="262"/>
              </a:cxn>
              <a:cxn ang="0">
                <a:pos x="160" y="272"/>
              </a:cxn>
              <a:cxn ang="0">
                <a:pos x="173" y="277"/>
              </a:cxn>
              <a:cxn ang="0">
                <a:pos x="183" y="274"/>
              </a:cxn>
              <a:cxn ang="0">
                <a:pos x="192" y="259"/>
              </a:cxn>
              <a:cxn ang="0">
                <a:pos x="203" y="244"/>
              </a:cxn>
              <a:cxn ang="0">
                <a:pos x="212" y="241"/>
              </a:cxn>
              <a:cxn ang="0">
                <a:pos x="241" y="247"/>
              </a:cxn>
              <a:cxn ang="0">
                <a:pos x="259" y="271"/>
              </a:cxn>
              <a:cxn ang="0">
                <a:pos x="308" y="336"/>
              </a:cxn>
              <a:cxn ang="0">
                <a:pos x="341" y="382"/>
              </a:cxn>
              <a:cxn ang="0">
                <a:pos x="358" y="419"/>
              </a:cxn>
              <a:cxn ang="0">
                <a:pos x="366" y="457"/>
              </a:cxn>
              <a:cxn ang="0">
                <a:pos x="359" y="470"/>
              </a:cxn>
              <a:cxn ang="0">
                <a:pos x="339" y="487"/>
              </a:cxn>
              <a:cxn ang="0">
                <a:pos x="363" y="496"/>
              </a:cxn>
              <a:cxn ang="0">
                <a:pos x="392" y="518"/>
              </a:cxn>
              <a:cxn ang="0">
                <a:pos x="401" y="499"/>
              </a:cxn>
              <a:cxn ang="0">
                <a:pos x="413" y="489"/>
              </a:cxn>
              <a:cxn ang="0">
                <a:pos x="444" y="483"/>
              </a:cxn>
              <a:cxn ang="0">
                <a:pos x="468" y="438"/>
              </a:cxn>
              <a:cxn ang="0">
                <a:pos x="449" y="387"/>
              </a:cxn>
              <a:cxn ang="0">
                <a:pos x="421" y="347"/>
              </a:cxn>
              <a:cxn ang="0">
                <a:pos x="345" y="277"/>
              </a:cxn>
              <a:cxn ang="0">
                <a:pos x="279" y="218"/>
              </a:cxn>
              <a:cxn ang="0">
                <a:pos x="224" y="162"/>
              </a:cxn>
              <a:cxn ang="0">
                <a:pos x="179" y="105"/>
              </a:cxn>
              <a:cxn ang="0">
                <a:pos x="127" y="40"/>
              </a:cxn>
              <a:cxn ang="0">
                <a:pos x="115" y="14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953503" y="3509519"/>
            <a:ext cx="133350" cy="130175"/>
          </a:xfrm>
          <a:custGeom>
            <a:avLst/>
            <a:gdLst/>
            <a:ahLst/>
            <a:cxnLst>
              <a:cxn ang="0">
                <a:pos x="152" y="19"/>
              </a:cxn>
              <a:cxn ang="0">
                <a:pos x="179" y="30"/>
              </a:cxn>
              <a:cxn ang="0">
                <a:pos x="196" y="30"/>
              </a:cxn>
              <a:cxn ang="0">
                <a:pos x="202" y="18"/>
              </a:cxn>
              <a:cxn ang="0">
                <a:pos x="210" y="10"/>
              </a:cxn>
              <a:cxn ang="0">
                <a:pos x="219" y="6"/>
              </a:cxn>
              <a:cxn ang="0">
                <a:pos x="245" y="2"/>
              </a:cxn>
              <a:cxn ang="0">
                <a:pos x="293" y="80"/>
              </a:cxn>
              <a:cxn ang="0">
                <a:pos x="266" y="107"/>
              </a:cxn>
              <a:cxn ang="0">
                <a:pos x="237" y="141"/>
              </a:cxn>
              <a:cxn ang="0">
                <a:pos x="225" y="159"/>
              </a:cxn>
              <a:cxn ang="0">
                <a:pos x="215" y="178"/>
              </a:cxn>
              <a:cxn ang="0">
                <a:pos x="209" y="197"/>
              </a:cxn>
              <a:cxn ang="0">
                <a:pos x="206" y="216"/>
              </a:cxn>
              <a:cxn ang="0">
                <a:pos x="196" y="217"/>
              </a:cxn>
              <a:cxn ang="0">
                <a:pos x="186" y="220"/>
              </a:cxn>
              <a:cxn ang="0">
                <a:pos x="170" y="229"/>
              </a:cxn>
              <a:cxn ang="0">
                <a:pos x="154" y="239"/>
              </a:cxn>
              <a:cxn ang="0">
                <a:pos x="133" y="246"/>
              </a:cxn>
              <a:cxn ang="0">
                <a:pos x="102" y="240"/>
              </a:cxn>
              <a:cxn ang="0">
                <a:pos x="71" y="232"/>
              </a:cxn>
              <a:cxn ang="0">
                <a:pos x="59" y="226"/>
              </a:cxn>
              <a:cxn ang="0">
                <a:pos x="49" y="220"/>
              </a:cxn>
              <a:cxn ang="0">
                <a:pos x="43" y="212"/>
              </a:cxn>
              <a:cxn ang="0">
                <a:pos x="41" y="204"/>
              </a:cxn>
              <a:cxn ang="0">
                <a:pos x="47" y="178"/>
              </a:cxn>
              <a:cxn ang="0">
                <a:pos x="45" y="162"/>
              </a:cxn>
              <a:cxn ang="0">
                <a:pos x="40" y="147"/>
              </a:cxn>
              <a:cxn ang="0">
                <a:pos x="24" y="119"/>
              </a:cxn>
              <a:cxn ang="0">
                <a:pos x="8" y="91"/>
              </a:cxn>
              <a:cxn ang="0">
                <a:pos x="2" y="74"/>
              </a:cxn>
              <a:cxn ang="0">
                <a:pos x="0" y="55"/>
              </a:cxn>
              <a:cxn ang="0">
                <a:pos x="2" y="45"/>
              </a:cxn>
              <a:cxn ang="0">
                <a:pos x="8" y="36"/>
              </a:cxn>
              <a:cxn ang="0">
                <a:pos x="17" y="29"/>
              </a:cxn>
              <a:cxn ang="0">
                <a:pos x="26" y="22"/>
              </a:cxn>
              <a:cxn ang="0">
                <a:pos x="48" y="14"/>
              </a:cxn>
              <a:cxn ang="0">
                <a:pos x="67" y="12"/>
              </a:cxn>
              <a:cxn ang="0">
                <a:pos x="96" y="12"/>
              </a:cxn>
              <a:cxn ang="0">
                <a:pos x="133" y="12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7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355151" y="2745931"/>
            <a:ext cx="85725" cy="130175"/>
          </a:xfrm>
          <a:custGeom>
            <a:avLst/>
            <a:gdLst/>
            <a:ahLst/>
            <a:cxnLst>
              <a:cxn ang="0">
                <a:pos x="18" y="41"/>
              </a:cxn>
              <a:cxn ang="0">
                <a:pos x="28" y="26"/>
              </a:cxn>
              <a:cxn ang="0">
                <a:pos x="38" y="16"/>
              </a:cxn>
              <a:cxn ang="0">
                <a:pos x="50" y="9"/>
              </a:cxn>
              <a:cxn ang="0">
                <a:pos x="73" y="1"/>
              </a:cxn>
              <a:cxn ang="0">
                <a:pos x="88" y="12"/>
              </a:cxn>
              <a:cxn ang="0">
                <a:pos x="108" y="34"/>
              </a:cxn>
              <a:cxn ang="0">
                <a:pos x="125" y="50"/>
              </a:cxn>
              <a:cxn ang="0">
                <a:pos x="139" y="58"/>
              </a:cxn>
              <a:cxn ang="0">
                <a:pos x="152" y="64"/>
              </a:cxn>
              <a:cxn ang="0">
                <a:pos x="166" y="67"/>
              </a:cxn>
              <a:cxn ang="0">
                <a:pos x="184" y="96"/>
              </a:cxn>
              <a:cxn ang="0">
                <a:pos x="195" y="137"/>
              </a:cxn>
              <a:cxn ang="0">
                <a:pos x="199" y="165"/>
              </a:cxn>
              <a:cxn ang="0">
                <a:pos x="200" y="185"/>
              </a:cxn>
              <a:cxn ang="0">
                <a:pos x="198" y="197"/>
              </a:cxn>
              <a:cxn ang="0">
                <a:pos x="195" y="207"/>
              </a:cxn>
              <a:cxn ang="0">
                <a:pos x="189" y="214"/>
              </a:cxn>
              <a:cxn ang="0">
                <a:pos x="179" y="220"/>
              </a:cxn>
              <a:cxn ang="0">
                <a:pos x="164" y="224"/>
              </a:cxn>
              <a:cxn ang="0">
                <a:pos x="140" y="224"/>
              </a:cxn>
              <a:cxn ang="0">
                <a:pos x="118" y="229"/>
              </a:cxn>
              <a:cxn ang="0">
                <a:pos x="111" y="235"/>
              </a:cxn>
              <a:cxn ang="0">
                <a:pos x="108" y="242"/>
              </a:cxn>
              <a:cxn ang="0">
                <a:pos x="98" y="245"/>
              </a:cxn>
              <a:cxn ang="0">
                <a:pos x="85" y="240"/>
              </a:cxn>
              <a:cxn ang="0">
                <a:pos x="77" y="230"/>
              </a:cxn>
              <a:cxn ang="0">
                <a:pos x="73" y="216"/>
              </a:cxn>
              <a:cxn ang="0">
                <a:pos x="72" y="192"/>
              </a:cxn>
              <a:cxn ang="0">
                <a:pos x="71" y="168"/>
              </a:cxn>
              <a:cxn ang="0">
                <a:pos x="69" y="154"/>
              </a:cxn>
              <a:cxn ang="0">
                <a:pos x="64" y="142"/>
              </a:cxn>
              <a:cxn ang="0">
                <a:pos x="56" y="134"/>
              </a:cxn>
              <a:cxn ang="0">
                <a:pos x="40" y="125"/>
              </a:cxn>
              <a:cxn ang="0">
                <a:pos x="18" y="115"/>
              </a:cxn>
              <a:cxn ang="0">
                <a:pos x="6" y="106"/>
              </a:cxn>
              <a:cxn ang="0">
                <a:pos x="1" y="98"/>
              </a:cxn>
              <a:cxn ang="0">
                <a:pos x="1" y="87"/>
              </a:cxn>
              <a:cxn ang="0">
                <a:pos x="5" y="78"/>
              </a:cxn>
              <a:cxn ang="0">
                <a:pos x="10" y="68"/>
              </a:cxn>
              <a:cxn ang="0">
                <a:pos x="13" y="56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8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923466" y="4042892"/>
            <a:ext cx="231775" cy="254000"/>
          </a:xfrm>
          <a:custGeom>
            <a:avLst/>
            <a:gdLst/>
            <a:ahLst/>
            <a:cxnLst>
              <a:cxn ang="0">
                <a:pos x="91" y="21"/>
              </a:cxn>
              <a:cxn ang="0">
                <a:pos x="160" y="47"/>
              </a:cxn>
              <a:cxn ang="0">
                <a:pos x="202" y="70"/>
              </a:cxn>
              <a:cxn ang="0">
                <a:pos x="253" y="110"/>
              </a:cxn>
              <a:cxn ang="0">
                <a:pos x="300" y="136"/>
              </a:cxn>
              <a:cxn ang="0">
                <a:pos x="299" y="161"/>
              </a:cxn>
              <a:cxn ang="0">
                <a:pos x="347" y="205"/>
              </a:cxn>
              <a:cxn ang="0">
                <a:pos x="393" y="248"/>
              </a:cxn>
              <a:cxn ang="0">
                <a:pos x="379" y="250"/>
              </a:cxn>
              <a:cxn ang="0">
                <a:pos x="372" y="256"/>
              </a:cxn>
              <a:cxn ang="0">
                <a:pos x="372" y="278"/>
              </a:cxn>
              <a:cxn ang="0">
                <a:pos x="377" y="301"/>
              </a:cxn>
              <a:cxn ang="0">
                <a:pos x="389" y="325"/>
              </a:cxn>
              <a:cxn ang="0">
                <a:pos x="407" y="348"/>
              </a:cxn>
              <a:cxn ang="0">
                <a:pos x="428" y="366"/>
              </a:cxn>
              <a:cxn ang="0">
                <a:pos x="451" y="376"/>
              </a:cxn>
              <a:cxn ang="0">
                <a:pos x="461" y="390"/>
              </a:cxn>
              <a:cxn ang="0">
                <a:pos x="472" y="406"/>
              </a:cxn>
              <a:cxn ang="0">
                <a:pos x="489" y="417"/>
              </a:cxn>
              <a:cxn ang="0">
                <a:pos x="513" y="432"/>
              </a:cxn>
              <a:cxn ang="0">
                <a:pos x="518" y="444"/>
              </a:cxn>
              <a:cxn ang="0">
                <a:pos x="525" y="450"/>
              </a:cxn>
              <a:cxn ang="0">
                <a:pos x="538" y="456"/>
              </a:cxn>
              <a:cxn ang="0">
                <a:pos x="534" y="472"/>
              </a:cxn>
              <a:cxn ang="0">
                <a:pos x="519" y="484"/>
              </a:cxn>
              <a:cxn ang="0">
                <a:pos x="490" y="487"/>
              </a:cxn>
              <a:cxn ang="0">
                <a:pos x="448" y="480"/>
              </a:cxn>
              <a:cxn ang="0">
                <a:pos x="414" y="466"/>
              </a:cxn>
              <a:cxn ang="0">
                <a:pos x="386" y="446"/>
              </a:cxn>
              <a:cxn ang="0">
                <a:pos x="355" y="415"/>
              </a:cxn>
              <a:cxn ang="0">
                <a:pos x="312" y="365"/>
              </a:cxn>
              <a:cxn ang="0">
                <a:pos x="274" y="330"/>
              </a:cxn>
              <a:cxn ang="0">
                <a:pos x="246" y="316"/>
              </a:cxn>
              <a:cxn ang="0">
                <a:pos x="212" y="309"/>
              </a:cxn>
              <a:cxn ang="0">
                <a:pos x="180" y="310"/>
              </a:cxn>
              <a:cxn ang="0">
                <a:pos x="153" y="317"/>
              </a:cxn>
              <a:cxn ang="0">
                <a:pos x="113" y="345"/>
              </a:cxn>
              <a:cxn ang="0">
                <a:pos x="136" y="361"/>
              </a:cxn>
              <a:cxn ang="0">
                <a:pos x="140" y="370"/>
              </a:cxn>
              <a:cxn ang="0">
                <a:pos x="124" y="401"/>
              </a:cxn>
              <a:cxn ang="0">
                <a:pos x="113" y="414"/>
              </a:cxn>
              <a:cxn ang="0">
                <a:pos x="47" y="403"/>
              </a:cxn>
              <a:cxn ang="0">
                <a:pos x="20" y="259"/>
              </a:cxn>
              <a:cxn ang="0">
                <a:pos x="20" y="0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9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8115549" y="4027021"/>
            <a:ext cx="106362" cy="128587"/>
          </a:xfrm>
          <a:custGeom>
            <a:avLst/>
            <a:gdLst/>
            <a:ahLst/>
            <a:cxnLst>
              <a:cxn ang="0">
                <a:pos x="136" y="1"/>
              </a:cxn>
              <a:cxn ang="0">
                <a:pos x="157" y="8"/>
              </a:cxn>
              <a:cxn ang="0">
                <a:pos x="179" y="21"/>
              </a:cxn>
              <a:cxn ang="0">
                <a:pos x="199" y="37"/>
              </a:cxn>
              <a:cxn ang="0">
                <a:pos x="218" y="57"/>
              </a:cxn>
              <a:cxn ang="0">
                <a:pos x="234" y="76"/>
              </a:cxn>
              <a:cxn ang="0">
                <a:pos x="245" y="94"/>
              </a:cxn>
              <a:cxn ang="0">
                <a:pos x="252" y="111"/>
              </a:cxn>
              <a:cxn ang="0">
                <a:pos x="252" y="128"/>
              </a:cxn>
              <a:cxn ang="0">
                <a:pos x="243" y="151"/>
              </a:cxn>
              <a:cxn ang="0">
                <a:pos x="229" y="174"/>
              </a:cxn>
              <a:cxn ang="0">
                <a:pos x="209" y="195"/>
              </a:cxn>
              <a:cxn ang="0">
                <a:pos x="184" y="214"/>
              </a:cxn>
              <a:cxn ang="0">
                <a:pos x="157" y="229"/>
              </a:cxn>
              <a:cxn ang="0">
                <a:pos x="129" y="240"/>
              </a:cxn>
              <a:cxn ang="0">
                <a:pos x="100" y="245"/>
              </a:cxn>
              <a:cxn ang="0">
                <a:pos x="74" y="245"/>
              </a:cxn>
              <a:cxn ang="0">
                <a:pos x="53" y="240"/>
              </a:cxn>
              <a:cxn ang="0">
                <a:pos x="33" y="234"/>
              </a:cxn>
              <a:cxn ang="0">
                <a:pos x="11" y="229"/>
              </a:cxn>
              <a:cxn ang="0">
                <a:pos x="3" y="219"/>
              </a:cxn>
              <a:cxn ang="0">
                <a:pos x="10" y="205"/>
              </a:cxn>
              <a:cxn ang="0">
                <a:pos x="22" y="196"/>
              </a:cxn>
              <a:cxn ang="0">
                <a:pos x="37" y="191"/>
              </a:cxn>
              <a:cxn ang="0">
                <a:pos x="50" y="197"/>
              </a:cxn>
              <a:cxn ang="0">
                <a:pos x="60" y="207"/>
              </a:cxn>
              <a:cxn ang="0">
                <a:pos x="68" y="201"/>
              </a:cxn>
              <a:cxn ang="0">
                <a:pos x="75" y="190"/>
              </a:cxn>
              <a:cxn ang="0">
                <a:pos x="84" y="180"/>
              </a:cxn>
              <a:cxn ang="0">
                <a:pos x="91" y="181"/>
              </a:cxn>
              <a:cxn ang="0">
                <a:pos x="98" y="179"/>
              </a:cxn>
              <a:cxn ang="0">
                <a:pos x="106" y="178"/>
              </a:cxn>
              <a:cxn ang="0">
                <a:pos x="120" y="174"/>
              </a:cxn>
              <a:cxn ang="0">
                <a:pos x="149" y="164"/>
              </a:cxn>
              <a:cxn ang="0">
                <a:pos x="179" y="147"/>
              </a:cxn>
              <a:cxn ang="0">
                <a:pos x="197" y="135"/>
              </a:cxn>
              <a:cxn ang="0">
                <a:pos x="210" y="123"/>
              </a:cxn>
              <a:cxn ang="0">
                <a:pos x="218" y="111"/>
              </a:cxn>
              <a:cxn ang="0">
                <a:pos x="219" y="98"/>
              </a:cxn>
              <a:cxn ang="0">
                <a:pos x="214" y="88"/>
              </a:cxn>
              <a:cxn ang="0">
                <a:pos x="210" y="80"/>
              </a:cxn>
              <a:cxn ang="0">
                <a:pos x="207" y="72"/>
              </a:cxn>
              <a:cxn ang="0">
                <a:pos x="201" y="67"/>
              </a:cxn>
              <a:cxn ang="0">
                <a:pos x="191" y="65"/>
              </a:cxn>
              <a:cxn ang="0">
                <a:pos x="184" y="61"/>
              </a:cxn>
              <a:cxn ang="0">
                <a:pos x="180" y="54"/>
              </a:cxn>
              <a:cxn ang="0">
                <a:pos x="140" y="49"/>
              </a:cxn>
              <a:cxn ang="0">
                <a:pos x="136" y="44"/>
              </a:cxn>
              <a:cxn ang="0">
                <a:pos x="136" y="36"/>
              </a:cxn>
              <a:cxn ang="0">
                <a:pos x="140" y="18"/>
              </a:cxn>
              <a:cxn ang="0">
                <a:pos x="110" y="11"/>
              </a:cxn>
              <a:cxn ang="0">
                <a:pos x="97" y="12"/>
              </a:cxn>
              <a:cxn ang="0">
                <a:pos x="86" y="18"/>
              </a:cxn>
              <a:cxn ang="0">
                <a:pos x="104" y="5"/>
              </a:cxn>
              <a:cxn ang="0">
                <a:pos x="113" y="1"/>
              </a:cxn>
              <a:cxn ang="0">
                <a:pos x="127" y="0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0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391524" y="3660331"/>
            <a:ext cx="63500" cy="119063"/>
          </a:xfrm>
          <a:custGeom>
            <a:avLst/>
            <a:gdLst/>
            <a:ahLst/>
            <a:cxnLst>
              <a:cxn ang="0">
                <a:pos x="41" y="228"/>
              </a:cxn>
              <a:cxn ang="0">
                <a:pos x="36" y="220"/>
              </a:cxn>
              <a:cxn ang="0">
                <a:pos x="29" y="208"/>
              </a:cxn>
              <a:cxn ang="0">
                <a:pos x="22" y="194"/>
              </a:cxn>
              <a:cxn ang="0">
                <a:pos x="16" y="178"/>
              </a:cxn>
              <a:cxn ang="0">
                <a:pos x="10" y="163"/>
              </a:cxn>
              <a:cxn ang="0">
                <a:pos x="5" y="148"/>
              </a:cxn>
              <a:cxn ang="0">
                <a:pos x="2" y="135"/>
              </a:cxn>
              <a:cxn ang="0">
                <a:pos x="0" y="123"/>
              </a:cxn>
              <a:cxn ang="0">
                <a:pos x="2" y="104"/>
              </a:cxn>
              <a:cxn ang="0">
                <a:pos x="4" y="87"/>
              </a:cxn>
              <a:cxn ang="0">
                <a:pos x="6" y="70"/>
              </a:cxn>
              <a:cxn ang="0">
                <a:pos x="9" y="55"/>
              </a:cxn>
              <a:cxn ang="0">
                <a:pos x="18" y="28"/>
              </a:cxn>
              <a:cxn ang="0">
                <a:pos x="28" y="0"/>
              </a:cxn>
              <a:cxn ang="0">
                <a:pos x="45" y="16"/>
              </a:cxn>
              <a:cxn ang="0">
                <a:pos x="62" y="28"/>
              </a:cxn>
              <a:cxn ang="0">
                <a:pos x="76" y="37"/>
              </a:cxn>
              <a:cxn ang="0">
                <a:pos x="89" y="48"/>
              </a:cxn>
              <a:cxn ang="0">
                <a:pos x="95" y="55"/>
              </a:cxn>
              <a:cxn ang="0">
                <a:pos x="101" y="63"/>
              </a:cxn>
              <a:cxn ang="0">
                <a:pos x="107" y="74"/>
              </a:cxn>
              <a:cxn ang="0">
                <a:pos x="114" y="86"/>
              </a:cxn>
              <a:cxn ang="0">
                <a:pos x="120" y="100"/>
              </a:cxn>
              <a:cxn ang="0">
                <a:pos x="127" y="117"/>
              </a:cxn>
              <a:cxn ang="0">
                <a:pos x="133" y="138"/>
              </a:cxn>
              <a:cxn ang="0">
                <a:pos x="141" y="161"/>
              </a:cxn>
              <a:cxn ang="0">
                <a:pos x="140" y="169"/>
              </a:cxn>
              <a:cxn ang="0">
                <a:pos x="138" y="177"/>
              </a:cxn>
              <a:cxn ang="0">
                <a:pos x="135" y="186"/>
              </a:cxn>
              <a:cxn ang="0">
                <a:pos x="131" y="192"/>
              </a:cxn>
              <a:cxn ang="0">
                <a:pos x="127" y="199"/>
              </a:cxn>
              <a:cxn ang="0">
                <a:pos x="121" y="204"/>
              </a:cxn>
              <a:cxn ang="0">
                <a:pos x="115" y="209"/>
              </a:cxn>
              <a:cxn ang="0">
                <a:pos x="108" y="213"/>
              </a:cxn>
              <a:cxn ang="0">
                <a:pos x="100" y="217"/>
              </a:cxn>
              <a:cxn ang="0">
                <a:pos x="93" y="220"/>
              </a:cxn>
              <a:cxn ang="0">
                <a:pos x="85" y="223"/>
              </a:cxn>
              <a:cxn ang="0">
                <a:pos x="76" y="225"/>
              </a:cxn>
              <a:cxn ang="0">
                <a:pos x="59" y="227"/>
              </a:cxn>
              <a:cxn ang="0">
                <a:pos x="41" y="228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81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331329" y="3371379"/>
            <a:ext cx="233362" cy="439739"/>
            <a:chOff x="5062" y="2295"/>
            <a:chExt cx="177" cy="279"/>
          </a:xfrm>
        </p:grpSpPr>
        <p:sp>
          <p:nvSpPr>
            <p:cNvPr id="282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3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4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5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7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8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9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0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1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2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3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4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5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6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8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9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0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1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2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3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4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5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6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675814" y="4190529"/>
            <a:ext cx="14288" cy="55563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34"/>
              </a:cxn>
              <a:cxn ang="0">
                <a:pos x="2" y="27"/>
              </a:cxn>
              <a:cxn ang="0">
                <a:pos x="5" y="21"/>
              </a:cxn>
              <a:cxn ang="0">
                <a:pos x="9" y="15"/>
              </a:cxn>
              <a:cxn ang="0">
                <a:pos x="14" y="9"/>
              </a:cxn>
              <a:cxn ang="0">
                <a:pos x="20" y="5"/>
              </a:cxn>
              <a:cxn ang="0">
                <a:pos x="26" y="2"/>
              </a:cxn>
              <a:cxn ang="0">
                <a:pos x="33" y="0"/>
              </a:cxn>
              <a:cxn ang="0">
                <a:pos x="33" y="25"/>
              </a:cxn>
              <a:cxn ang="0">
                <a:pos x="23" y="27"/>
              </a:cxn>
              <a:cxn ang="0">
                <a:pos x="18" y="29"/>
              </a:cxn>
              <a:cxn ang="0">
                <a:pos x="16" y="32"/>
              </a:cxn>
              <a:cxn ang="0">
                <a:pos x="16" y="34"/>
              </a:cxn>
              <a:cxn ang="0">
                <a:pos x="16" y="36"/>
              </a:cxn>
              <a:cxn ang="0">
                <a:pos x="14" y="38"/>
              </a:cxn>
              <a:cxn ang="0">
                <a:pos x="10" y="41"/>
              </a:cxn>
              <a:cxn ang="0">
                <a:pos x="0" y="43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752026" y="4130204"/>
            <a:ext cx="22225" cy="58739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1" y="51"/>
              </a:cxn>
              <a:cxn ang="0">
                <a:pos x="2" y="46"/>
              </a:cxn>
              <a:cxn ang="0">
                <a:pos x="3" y="42"/>
              </a:cxn>
              <a:cxn ang="0">
                <a:pos x="6" y="37"/>
              </a:cxn>
              <a:cxn ang="0">
                <a:pos x="11" y="29"/>
              </a:cxn>
              <a:cxn ang="0">
                <a:pos x="18" y="21"/>
              </a:cxn>
              <a:cxn ang="0">
                <a:pos x="31" y="7"/>
              </a:cxn>
              <a:cxn ang="0">
                <a:pos x="41" y="0"/>
              </a:cxn>
              <a:cxn ang="0">
                <a:pos x="54" y="12"/>
              </a:cxn>
              <a:cxn ang="0">
                <a:pos x="51" y="21"/>
              </a:cxn>
              <a:cxn ang="0">
                <a:pos x="47" y="29"/>
              </a:cxn>
              <a:cxn ang="0">
                <a:pos x="44" y="35"/>
              </a:cxn>
              <a:cxn ang="0">
                <a:pos x="41" y="41"/>
              </a:cxn>
              <a:cxn ang="0">
                <a:pos x="33" y="49"/>
              </a:cxn>
              <a:cxn ang="0">
                <a:pos x="28" y="55"/>
              </a:cxn>
              <a:cxn ang="0">
                <a:pos x="26" y="64"/>
              </a:cxn>
              <a:cxn ang="0">
                <a:pos x="26" y="74"/>
              </a:cxn>
              <a:cxn ang="0">
                <a:pos x="24" y="83"/>
              </a:cxn>
              <a:cxn ang="0">
                <a:pos x="20" y="92"/>
              </a:cxn>
              <a:cxn ang="0">
                <a:pos x="14" y="83"/>
              </a:cxn>
              <a:cxn ang="0">
                <a:pos x="8" y="74"/>
              </a:cxn>
              <a:cxn ang="0">
                <a:pos x="5" y="70"/>
              </a:cxn>
              <a:cxn ang="0">
                <a:pos x="2" y="64"/>
              </a:cxn>
              <a:cxn ang="0">
                <a:pos x="1" y="60"/>
              </a:cxn>
              <a:cxn ang="0">
                <a:pos x="0" y="55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8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799651" y="4009554"/>
            <a:ext cx="23813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4"/>
              </a:cxn>
              <a:cxn ang="0">
                <a:pos x="37" y="9"/>
              </a:cxn>
              <a:cxn ang="0">
                <a:pos x="45" y="11"/>
              </a:cxn>
              <a:cxn ang="0">
                <a:pos x="51" y="13"/>
              </a:cxn>
              <a:cxn ang="0">
                <a:pos x="56" y="16"/>
              </a:cxn>
              <a:cxn ang="0">
                <a:pos x="60" y="18"/>
              </a:cxn>
              <a:cxn ang="0">
                <a:pos x="38" y="18"/>
              </a:cxn>
              <a:cxn ang="0">
                <a:pos x="23" y="18"/>
              </a:cxn>
              <a:cxn ang="0">
                <a:pos x="10" y="18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9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783766" y="3979393"/>
            <a:ext cx="25400" cy="57151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66" y="18"/>
              </a:cxn>
              <a:cxn ang="0">
                <a:pos x="52" y="13"/>
              </a:cxn>
              <a:cxn ang="0">
                <a:pos x="40" y="7"/>
              </a:cxn>
              <a:cxn ang="0">
                <a:pos x="35" y="4"/>
              </a:cxn>
              <a:cxn ang="0">
                <a:pos x="29" y="2"/>
              </a:cxn>
              <a:cxn ang="0">
                <a:pos x="25" y="1"/>
              </a:cxn>
              <a:cxn ang="0">
                <a:pos x="19" y="0"/>
              </a:cxn>
              <a:cxn ang="0">
                <a:pos x="0" y="18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0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609136" y="3876204"/>
            <a:ext cx="7938" cy="57151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3" y="42"/>
              </a:cxn>
              <a:cxn ang="0">
                <a:pos x="14" y="33"/>
              </a:cxn>
              <a:cxn ang="0">
                <a:pos x="16" y="23"/>
              </a:cxn>
              <a:cxn ang="0">
                <a:pos x="17" y="18"/>
              </a:cxn>
              <a:cxn ang="0">
                <a:pos x="16" y="12"/>
              </a:cxn>
              <a:cxn ang="0">
                <a:pos x="16" y="6"/>
              </a:cxn>
              <a:cxn ang="0">
                <a:pos x="13" y="0"/>
              </a:cxn>
              <a:cxn ang="0">
                <a:pos x="0" y="36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1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536125" y="4011145"/>
            <a:ext cx="30163" cy="58737"/>
          </a:xfrm>
          <a:custGeom>
            <a:avLst/>
            <a:gdLst/>
            <a:ahLst/>
            <a:cxnLst>
              <a:cxn ang="0">
                <a:pos x="6" y="29"/>
              </a:cxn>
              <a:cxn ang="0">
                <a:pos x="15" y="26"/>
              </a:cxn>
              <a:cxn ang="0">
                <a:pos x="24" y="24"/>
              </a:cxn>
              <a:cxn ang="0">
                <a:pos x="32" y="24"/>
              </a:cxn>
              <a:cxn ang="0">
                <a:pos x="39" y="24"/>
              </a:cxn>
              <a:cxn ang="0">
                <a:pos x="55" y="27"/>
              </a:cxn>
              <a:cxn ang="0">
                <a:pos x="72" y="29"/>
              </a:cxn>
              <a:cxn ang="0">
                <a:pos x="72" y="4"/>
              </a:cxn>
              <a:cxn ang="0">
                <a:pos x="58" y="1"/>
              </a:cxn>
              <a:cxn ang="0">
                <a:pos x="47" y="0"/>
              </a:cxn>
              <a:cxn ang="0">
                <a:pos x="39" y="0"/>
              </a:cxn>
              <a:cxn ang="0">
                <a:pos x="34" y="2"/>
              </a:cxn>
              <a:cxn ang="0">
                <a:pos x="27" y="3"/>
              </a:cxn>
              <a:cxn ang="0">
                <a:pos x="21" y="5"/>
              </a:cxn>
              <a:cxn ang="0">
                <a:pos x="12" y="5"/>
              </a:cxn>
              <a:cxn ang="0">
                <a:pos x="0" y="4"/>
              </a:cxn>
              <a:cxn ang="0">
                <a:pos x="3" y="16"/>
              </a:cxn>
              <a:cxn ang="0">
                <a:pos x="6" y="29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2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544049" y="4196895"/>
            <a:ext cx="1905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9"/>
              </a:cxn>
              <a:cxn ang="0">
                <a:pos x="20" y="15"/>
              </a:cxn>
              <a:cxn ang="0">
                <a:pos x="31" y="20"/>
              </a:cxn>
              <a:cxn ang="0">
                <a:pos x="46" y="25"/>
              </a:cxn>
              <a:cxn ang="0">
                <a:pos x="37" y="29"/>
              </a:cxn>
              <a:cxn ang="0">
                <a:pos x="29" y="33"/>
              </a:cxn>
              <a:cxn ang="0">
                <a:pos x="21" y="36"/>
              </a:cxn>
              <a:cxn ang="0">
                <a:pos x="13" y="37"/>
              </a:cxn>
              <a:cxn ang="0">
                <a:pos x="9" y="36"/>
              </a:cxn>
              <a:cxn ang="0">
                <a:pos x="7" y="33"/>
              </a:cxn>
              <a:cxn ang="0">
                <a:pos x="5" y="29"/>
              </a:cxn>
              <a:cxn ang="0">
                <a:pos x="3" y="23"/>
              </a:cxn>
              <a:cxn ang="0">
                <a:pos x="1" y="12"/>
              </a:cxn>
              <a:cxn ang="0">
                <a:pos x="0" y="0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3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656776" y="4015904"/>
            <a:ext cx="11113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6" y="19"/>
              </a:cxn>
              <a:cxn ang="0">
                <a:pos x="26" y="9"/>
              </a:cxn>
              <a:cxn ang="0">
                <a:pos x="26" y="0"/>
              </a:cxn>
              <a:cxn ang="0">
                <a:pos x="15" y="0"/>
              </a:cxn>
              <a:cxn ang="0">
                <a:pos x="0" y="0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4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517061" y="4011145"/>
            <a:ext cx="19050" cy="587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2"/>
              </a:cxn>
              <a:cxn ang="0">
                <a:pos x="0" y="23"/>
              </a:cxn>
              <a:cxn ang="0">
                <a:pos x="0" y="26"/>
              </a:cxn>
              <a:cxn ang="0">
                <a:pos x="0" y="29"/>
              </a:cxn>
              <a:cxn ang="0">
                <a:pos x="0" y="31"/>
              </a:cxn>
              <a:cxn ang="0">
                <a:pos x="2" y="31"/>
              </a:cxn>
              <a:cxn ang="0">
                <a:pos x="13" y="22"/>
              </a:cxn>
              <a:cxn ang="0">
                <a:pos x="25" y="13"/>
              </a:cxn>
              <a:cxn ang="0">
                <a:pos x="35" y="5"/>
              </a:cxn>
              <a:cxn ang="0">
                <a:pos x="43" y="0"/>
              </a:cxn>
              <a:cxn ang="0">
                <a:pos x="2" y="0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5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561526" y="4058767"/>
            <a:ext cx="30163" cy="57151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4" y="18"/>
              </a:cxn>
              <a:cxn ang="0">
                <a:pos x="5" y="25"/>
              </a:cxn>
              <a:cxn ang="0">
                <a:pos x="7" y="31"/>
              </a:cxn>
              <a:cxn ang="0">
                <a:pos x="9" y="37"/>
              </a:cxn>
              <a:cxn ang="0">
                <a:pos x="14" y="41"/>
              </a:cxn>
              <a:cxn ang="0">
                <a:pos x="18" y="46"/>
              </a:cxn>
              <a:cxn ang="0">
                <a:pos x="23" y="48"/>
              </a:cxn>
              <a:cxn ang="0">
                <a:pos x="30" y="49"/>
              </a:cxn>
              <a:cxn ang="0">
                <a:pos x="35" y="48"/>
              </a:cxn>
              <a:cxn ang="0">
                <a:pos x="40" y="46"/>
              </a:cxn>
              <a:cxn ang="0">
                <a:pos x="45" y="42"/>
              </a:cxn>
              <a:cxn ang="0">
                <a:pos x="50" y="37"/>
              </a:cxn>
              <a:cxn ang="0">
                <a:pos x="60" y="28"/>
              </a:cxn>
              <a:cxn ang="0">
                <a:pos x="71" y="18"/>
              </a:cxn>
              <a:cxn ang="0">
                <a:pos x="61" y="12"/>
              </a:cxn>
              <a:cxn ang="0">
                <a:pos x="52" y="9"/>
              </a:cxn>
              <a:cxn ang="0">
                <a:pos x="44" y="7"/>
              </a:cxn>
              <a:cxn ang="0">
                <a:pos x="37" y="6"/>
              </a:cxn>
              <a:cxn ang="0">
                <a:pos x="29" y="6"/>
              </a:cxn>
              <a:cxn ang="0">
                <a:pos x="21" y="5"/>
              </a:cxn>
              <a:cxn ang="0">
                <a:pos x="14" y="3"/>
              </a:cxn>
              <a:cxn ang="0">
                <a:pos x="4" y="0"/>
              </a:cxn>
              <a:cxn ang="0">
                <a:pos x="3" y="1"/>
              </a:cxn>
              <a:cxn ang="0">
                <a:pos x="1" y="6"/>
              </a:cxn>
              <a:cxn ang="0">
                <a:pos x="0" y="8"/>
              </a:cxn>
              <a:cxn ang="0">
                <a:pos x="0" y="10"/>
              </a:cxn>
              <a:cxn ang="0">
                <a:pos x="1" y="11"/>
              </a:cxn>
              <a:cxn ang="0">
                <a:pos x="4" y="12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6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363089" y="4261981"/>
            <a:ext cx="46037" cy="58737"/>
          </a:xfrm>
          <a:custGeom>
            <a:avLst/>
            <a:gdLst/>
            <a:ahLst/>
            <a:cxnLst>
              <a:cxn ang="0">
                <a:pos x="46" y="2"/>
              </a:cxn>
              <a:cxn ang="0">
                <a:pos x="56" y="2"/>
              </a:cxn>
              <a:cxn ang="0">
                <a:pos x="66" y="3"/>
              </a:cxn>
              <a:cxn ang="0">
                <a:pos x="74" y="4"/>
              </a:cxn>
              <a:cxn ang="0">
                <a:pos x="84" y="6"/>
              </a:cxn>
              <a:cxn ang="0">
                <a:pos x="92" y="9"/>
              </a:cxn>
              <a:cxn ang="0">
                <a:pos x="100" y="12"/>
              </a:cxn>
              <a:cxn ang="0">
                <a:pos x="106" y="16"/>
              </a:cxn>
              <a:cxn ang="0">
                <a:pos x="112" y="20"/>
              </a:cxn>
              <a:cxn ang="0">
                <a:pos x="110" y="22"/>
              </a:cxn>
              <a:cxn ang="0">
                <a:pos x="105" y="23"/>
              </a:cxn>
              <a:cxn ang="0">
                <a:pos x="101" y="25"/>
              </a:cxn>
              <a:cxn ang="0">
                <a:pos x="95" y="25"/>
              </a:cxn>
              <a:cxn ang="0">
                <a:pos x="87" y="26"/>
              </a:cxn>
              <a:cxn ang="0">
                <a:pos x="79" y="26"/>
              </a:cxn>
              <a:cxn ang="0">
                <a:pos x="66" y="24"/>
              </a:cxn>
              <a:cxn ang="0">
                <a:pos x="41" y="19"/>
              </a:cxn>
              <a:cxn ang="0">
                <a:pos x="16" y="13"/>
              </a:cxn>
              <a:cxn ang="0">
                <a:pos x="0" y="8"/>
              </a:cxn>
              <a:cxn ang="0">
                <a:pos x="5" y="4"/>
              </a:cxn>
              <a:cxn ang="0">
                <a:pos x="11" y="2"/>
              </a:cxn>
              <a:cxn ang="0">
                <a:pos x="18" y="1"/>
              </a:cxn>
              <a:cxn ang="0">
                <a:pos x="25" y="0"/>
              </a:cxn>
              <a:cxn ang="0">
                <a:pos x="37" y="1"/>
              </a:cxn>
              <a:cxn ang="0">
                <a:pos x="46" y="2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7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461507" y="4300070"/>
            <a:ext cx="14287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1" y="0"/>
              </a:cxn>
              <a:cxn ang="0">
                <a:pos x="28" y="8"/>
              </a:cxn>
              <a:cxn ang="0">
                <a:pos x="18" y="15"/>
              </a:cxn>
              <a:cxn ang="0">
                <a:pos x="9" y="20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8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294814" y="4231815"/>
            <a:ext cx="36513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3"/>
              </a:cxn>
              <a:cxn ang="0">
                <a:pos x="0" y="10"/>
              </a:cxn>
              <a:cxn ang="0">
                <a:pos x="2" y="8"/>
              </a:cxn>
              <a:cxn ang="0">
                <a:pos x="3" y="6"/>
              </a:cxn>
              <a:cxn ang="0">
                <a:pos x="4" y="4"/>
              </a:cxn>
              <a:cxn ang="0">
                <a:pos x="8" y="2"/>
              </a:cxn>
              <a:cxn ang="0">
                <a:pos x="14" y="0"/>
              </a:cxn>
              <a:cxn ang="0">
                <a:pos x="26" y="1"/>
              </a:cxn>
              <a:cxn ang="0">
                <a:pos x="41" y="1"/>
              </a:cxn>
              <a:cxn ang="0">
                <a:pos x="56" y="1"/>
              </a:cxn>
              <a:cxn ang="0">
                <a:pos x="65" y="1"/>
              </a:cxn>
              <a:cxn ang="0">
                <a:pos x="73" y="1"/>
              </a:cxn>
              <a:cxn ang="0">
                <a:pos x="81" y="1"/>
              </a:cxn>
              <a:cxn ang="0">
                <a:pos x="73" y="6"/>
              </a:cxn>
              <a:cxn ang="0">
                <a:pos x="67" y="10"/>
              </a:cxn>
              <a:cxn ang="0">
                <a:pos x="64" y="14"/>
              </a:cxn>
              <a:cxn ang="0">
                <a:pos x="62" y="18"/>
              </a:cxn>
              <a:cxn ang="0">
                <a:pos x="59" y="21"/>
              </a:cxn>
              <a:cxn ang="0">
                <a:pos x="54" y="23"/>
              </a:cxn>
              <a:cxn ang="0">
                <a:pos x="47" y="25"/>
              </a:cxn>
              <a:cxn ang="0">
                <a:pos x="34" y="25"/>
              </a:cxn>
              <a:cxn ang="0">
                <a:pos x="0" y="31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9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339262" y="4217517"/>
            <a:ext cx="39688" cy="55563"/>
          </a:xfrm>
          <a:custGeom>
            <a:avLst/>
            <a:gdLst/>
            <a:ahLst/>
            <a:cxnLst>
              <a:cxn ang="0">
                <a:pos x="2" y="49"/>
              </a:cxn>
              <a:cxn ang="0">
                <a:pos x="89" y="49"/>
              </a:cxn>
              <a:cxn ang="0">
                <a:pos x="78" y="41"/>
              </a:cxn>
              <a:cxn ang="0">
                <a:pos x="68" y="35"/>
              </a:cxn>
              <a:cxn ang="0">
                <a:pos x="57" y="30"/>
              </a:cxn>
              <a:cxn ang="0">
                <a:pos x="46" y="25"/>
              </a:cxn>
              <a:cxn ang="0">
                <a:pos x="36" y="21"/>
              </a:cxn>
              <a:cxn ang="0">
                <a:pos x="26" y="14"/>
              </a:cxn>
              <a:cxn ang="0">
                <a:pos x="16" y="8"/>
              </a:cxn>
              <a:cxn ang="0">
                <a:pos x="9" y="0"/>
              </a:cxn>
              <a:cxn ang="0">
                <a:pos x="4" y="10"/>
              </a:cxn>
              <a:cxn ang="0">
                <a:pos x="1" y="23"/>
              </a:cxn>
              <a:cxn ang="0">
                <a:pos x="0" y="29"/>
              </a:cxn>
              <a:cxn ang="0">
                <a:pos x="0" y="36"/>
              </a:cxn>
              <a:cxn ang="0">
                <a:pos x="0" y="43"/>
              </a:cxn>
              <a:cxn ang="0">
                <a:pos x="2" y="49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0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391654" y="4227050"/>
            <a:ext cx="36512" cy="58737"/>
          </a:xfrm>
          <a:custGeom>
            <a:avLst/>
            <a:gdLst/>
            <a:ahLst/>
            <a:cxnLst>
              <a:cxn ang="0">
                <a:pos x="0" y="21"/>
              </a:cxn>
              <a:cxn ang="0">
                <a:pos x="14" y="26"/>
              </a:cxn>
              <a:cxn ang="0">
                <a:pos x="25" y="29"/>
              </a:cxn>
              <a:cxn ang="0">
                <a:pos x="30" y="30"/>
              </a:cxn>
              <a:cxn ang="0">
                <a:pos x="36" y="30"/>
              </a:cxn>
              <a:cxn ang="0">
                <a:pos x="41" y="29"/>
              </a:cxn>
              <a:cxn ang="0">
                <a:pos x="46" y="27"/>
              </a:cxn>
              <a:cxn ang="0">
                <a:pos x="46" y="36"/>
              </a:cxn>
              <a:cxn ang="0">
                <a:pos x="46" y="46"/>
              </a:cxn>
              <a:cxn ang="0">
                <a:pos x="56" y="45"/>
              </a:cxn>
              <a:cxn ang="0">
                <a:pos x="67" y="43"/>
              </a:cxn>
              <a:cxn ang="0">
                <a:pos x="77" y="40"/>
              </a:cxn>
              <a:cxn ang="0">
                <a:pos x="86" y="40"/>
              </a:cxn>
              <a:cxn ang="0">
                <a:pos x="83" y="32"/>
              </a:cxn>
              <a:cxn ang="0">
                <a:pos x="80" y="25"/>
              </a:cxn>
              <a:cxn ang="0">
                <a:pos x="74" y="19"/>
              </a:cxn>
              <a:cxn ang="0">
                <a:pos x="70" y="14"/>
              </a:cxn>
              <a:cxn ang="0">
                <a:pos x="64" y="9"/>
              </a:cxn>
              <a:cxn ang="0">
                <a:pos x="58" y="6"/>
              </a:cxn>
              <a:cxn ang="0">
                <a:pos x="51" y="3"/>
              </a:cxn>
              <a:cxn ang="0">
                <a:pos x="46" y="1"/>
              </a:cxn>
              <a:cxn ang="0">
                <a:pos x="39" y="0"/>
              </a:cxn>
              <a:cxn ang="0">
                <a:pos x="33" y="0"/>
              </a:cxn>
              <a:cxn ang="0">
                <a:pos x="26" y="1"/>
              </a:cxn>
              <a:cxn ang="0">
                <a:pos x="19" y="3"/>
              </a:cxn>
              <a:cxn ang="0">
                <a:pos x="14" y="6"/>
              </a:cxn>
              <a:cxn ang="0">
                <a:pos x="8" y="10"/>
              </a:cxn>
              <a:cxn ang="0">
                <a:pos x="4" y="15"/>
              </a:cxn>
              <a:cxn ang="0">
                <a:pos x="0" y="21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1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444038" y="4231815"/>
            <a:ext cx="2540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39" y="18"/>
              </a:cxn>
              <a:cxn ang="0">
                <a:pos x="59" y="6"/>
              </a:cxn>
              <a:cxn ang="0">
                <a:pos x="51" y="5"/>
              </a:cxn>
              <a:cxn ang="0">
                <a:pos x="45" y="4"/>
              </a:cxn>
              <a:cxn ang="0">
                <a:pos x="37" y="5"/>
              </a:cxn>
              <a:cxn ang="0">
                <a:pos x="29" y="6"/>
              </a:cxn>
              <a:cxn ang="0">
                <a:pos x="22" y="6"/>
              </a:cxn>
              <a:cxn ang="0">
                <a:pos x="14" y="5"/>
              </a:cxn>
              <a:cxn ang="0">
                <a:pos x="7" y="4"/>
              </a:cxn>
              <a:cxn ang="0">
                <a:pos x="0" y="0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2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517061" y="4223867"/>
            <a:ext cx="1588" cy="55563"/>
          </a:xfrm>
          <a:custGeom>
            <a:avLst/>
            <a:gdLst/>
            <a:ahLst/>
            <a:cxnLst>
              <a:cxn ang="0">
                <a:pos x="4" y="19"/>
              </a:cxn>
              <a:cxn ang="0">
                <a:pos x="4" y="0"/>
              </a:cxn>
              <a:cxn ang="0">
                <a:pos x="2" y="1"/>
              </a:cxn>
              <a:cxn ang="0">
                <a:pos x="1" y="3"/>
              </a:cxn>
              <a:cxn ang="0">
                <a:pos x="0" y="6"/>
              </a:cxn>
              <a:cxn ang="0">
                <a:pos x="0" y="10"/>
              </a:cxn>
              <a:cxn ang="0">
                <a:pos x="0" y="14"/>
              </a:cxn>
              <a:cxn ang="0">
                <a:pos x="1" y="16"/>
              </a:cxn>
              <a:cxn ang="0">
                <a:pos x="2" y="19"/>
              </a:cxn>
              <a:cxn ang="0">
                <a:pos x="4" y="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3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7091611" y="4038129"/>
            <a:ext cx="20638" cy="58739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7" y="0"/>
              </a:cxn>
              <a:cxn ang="0">
                <a:pos x="23" y="8"/>
              </a:cxn>
              <a:cxn ang="0">
                <a:pos x="34" y="14"/>
              </a:cxn>
              <a:cxn ang="0">
                <a:pos x="37" y="18"/>
              </a:cxn>
              <a:cxn ang="0">
                <a:pos x="41" y="22"/>
              </a:cxn>
              <a:cxn ang="0">
                <a:pos x="44" y="30"/>
              </a:cxn>
              <a:cxn ang="0">
                <a:pos x="46" y="38"/>
              </a:cxn>
              <a:cxn ang="0">
                <a:pos x="34" y="42"/>
              </a:cxn>
              <a:cxn ang="0">
                <a:pos x="21" y="46"/>
              </a:cxn>
              <a:cxn ang="0">
                <a:pos x="8" y="49"/>
              </a:cxn>
              <a:cxn ang="0">
                <a:pos x="0" y="50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4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7037651" y="4011145"/>
            <a:ext cx="3016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" y="0"/>
              </a:cxn>
              <a:cxn ang="0">
                <a:pos x="18" y="0"/>
              </a:cxn>
              <a:cxn ang="0">
                <a:pos x="26" y="0"/>
              </a:cxn>
              <a:cxn ang="0">
                <a:pos x="33" y="0"/>
              </a:cxn>
              <a:cxn ang="0">
                <a:pos x="33" y="7"/>
              </a:cxn>
              <a:cxn ang="0">
                <a:pos x="34" y="14"/>
              </a:cxn>
              <a:cxn ang="0">
                <a:pos x="36" y="21"/>
              </a:cxn>
              <a:cxn ang="0">
                <a:pos x="38" y="27"/>
              </a:cxn>
              <a:cxn ang="0">
                <a:pos x="44" y="36"/>
              </a:cxn>
              <a:cxn ang="0">
                <a:pos x="49" y="45"/>
              </a:cxn>
              <a:cxn ang="0">
                <a:pos x="56" y="52"/>
              </a:cxn>
              <a:cxn ang="0">
                <a:pos x="61" y="60"/>
              </a:cxn>
              <a:cxn ang="0">
                <a:pos x="62" y="65"/>
              </a:cxn>
              <a:cxn ang="0">
                <a:pos x="65" y="69"/>
              </a:cxn>
              <a:cxn ang="0">
                <a:pos x="66" y="75"/>
              </a:cxn>
              <a:cxn ang="0">
                <a:pos x="66" y="80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5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872536" y="3995267"/>
            <a:ext cx="7938" cy="57151"/>
          </a:xfrm>
          <a:custGeom>
            <a:avLst/>
            <a:gdLst/>
            <a:ahLst/>
            <a:cxnLst>
              <a:cxn ang="0">
                <a:pos x="20" y="48"/>
              </a:cxn>
              <a:cxn ang="0">
                <a:pos x="20" y="39"/>
              </a:cxn>
              <a:cxn ang="0">
                <a:pos x="19" y="32"/>
              </a:cxn>
              <a:cxn ang="0">
                <a:pos x="16" y="25"/>
              </a:cxn>
              <a:cxn ang="0">
                <a:pos x="14" y="19"/>
              </a:cxn>
              <a:cxn ang="0">
                <a:pos x="12" y="14"/>
              </a:cxn>
              <a:cxn ang="0">
                <a:pos x="9" y="9"/>
              </a:cxn>
              <a:cxn ang="0">
                <a:pos x="4" y="4"/>
              </a:cxn>
              <a:cxn ang="0">
                <a:pos x="0" y="0"/>
              </a:cxn>
              <a:cxn ang="0">
                <a:pos x="0" y="8"/>
              </a:cxn>
              <a:cxn ang="0">
                <a:pos x="2" y="17"/>
              </a:cxn>
              <a:cxn ang="0">
                <a:pos x="4" y="24"/>
              </a:cxn>
              <a:cxn ang="0">
                <a:pos x="8" y="31"/>
              </a:cxn>
              <a:cxn ang="0">
                <a:pos x="14" y="41"/>
              </a:cxn>
              <a:cxn ang="0">
                <a:pos x="20" y="48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6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897943" y="4031779"/>
            <a:ext cx="4763" cy="635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894761" y="4031779"/>
            <a:ext cx="7938" cy="57151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0" y="8"/>
              </a:cxn>
              <a:cxn ang="0">
                <a:pos x="18" y="5"/>
              </a:cxn>
              <a:cxn ang="0">
                <a:pos x="15" y="3"/>
              </a:cxn>
              <a:cxn ang="0">
                <a:pos x="13" y="2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8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796351" y="3876204"/>
            <a:ext cx="22225" cy="57151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1" y="4"/>
              </a:cxn>
              <a:cxn ang="0">
                <a:pos x="23" y="13"/>
              </a:cxn>
              <a:cxn ang="0">
                <a:pos x="37" y="23"/>
              </a:cxn>
              <a:cxn ang="0">
                <a:pos x="46" y="30"/>
              </a:cxn>
              <a:cxn ang="0">
                <a:pos x="49" y="18"/>
              </a:cxn>
              <a:cxn ang="0">
                <a:pos x="53" y="6"/>
              </a:cxn>
              <a:cxn ang="0">
                <a:pos x="37" y="5"/>
              </a:cxn>
              <a:cxn ang="0">
                <a:pos x="26" y="3"/>
              </a:cxn>
              <a:cxn ang="0">
                <a:pos x="21" y="3"/>
              </a:cxn>
              <a:cxn ang="0">
                <a:pos x="15" y="3"/>
              </a:cxn>
              <a:cxn ang="0">
                <a:pos x="9" y="4"/>
              </a:cxn>
              <a:cxn ang="0">
                <a:pos x="0" y="6"/>
              </a:cxn>
              <a:cxn ang="0">
                <a:pos x="7" y="0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9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324974" y="4239742"/>
            <a:ext cx="11112" cy="57151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21"/>
              </a:cxn>
              <a:cxn ang="0">
                <a:pos x="7" y="31"/>
              </a:cxn>
              <a:cxn ang="0">
                <a:pos x="22" y="31"/>
              </a:cxn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19" y="0"/>
              </a:cxn>
              <a:cxn ang="0">
                <a:pos x="10" y="0"/>
              </a:cxn>
              <a:cxn ang="0">
                <a:pos x="0" y="0"/>
              </a:cxn>
              <a:cxn ang="0">
                <a:pos x="0" y="6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0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840919" y="4196895"/>
            <a:ext cx="28575" cy="55563"/>
          </a:xfrm>
          <a:custGeom>
            <a:avLst/>
            <a:gdLst/>
            <a:ahLst/>
            <a:cxnLst>
              <a:cxn ang="0">
                <a:pos x="19" y="68"/>
              </a:cxn>
              <a:cxn ang="0">
                <a:pos x="16" y="68"/>
              </a:cxn>
              <a:cxn ang="0">
                <a:pos x="14" y="66"/>
              </a:cxn>
              <a:cxn ang="0">
                <a:pos x="11" y="64"/>
              </a:cxn>
              <a:cxn ang="0">
                <a:pos x="7" y="61"/>
              </a:cxn>
              <a:cxn ang="0">
                <a:pos x="4" y="59"/>
              </a:cxn>
              <a:cxn ang="0">
                <a:pos x="2" y="55"/>
              </a:cxn>
              <a:cxn ang="0">
                <a:pos x="0" y="52"/>
              </a:cxn>
              <a:cxn ang="0">
                <a:pos x="0" y="49"/>
              </a:cxn>
              <a:cxn ang="0">
                <a:pos x="0" y="38"/>
              </a:cxn>
              <a:cxn ang="0">
                <a:pos x="2" y="29"/>
              </a:cxn>
              <a:cxn ang="0">
                <a:pos x="5" y="21"/>
              </a:cxn>
              <a:cxn ang="0">
                <a:pos x="9" y="14"/>
              </a:cxn>
              <a:cxn ang="0">
                <a:pos x="15" y="8"/>
              </a:cxn>
              <a:cxn ang="0">
                <a:pos x="22" y="4"/>
              </a:cxn>
              <a:cxn ang="0">
                <a:pos x="30" y="2"/>
              </a:cxn>
              <a:cxn ang="0">
                <a:pos x="39" y="0"/>
              </a:cxn>
              <a:cxn ang="0">
                <a:pos x="52" y="0"/>
              </a:cxn>
              <a:cxn ang="0">
                <a:pos x="65" y="0"/>
              </a:cxn>
              <a:cxn ang="0">
                <a:pos x="65" y="43"/>
              </a:cxn>
              <a:cxn ang="0">
                <a:pos x="56" y="52"/>
              </a:cxn>
              <a:cxn ang="0">
                <a:pos x="45" y="61"/>
              </a:cxn>
              <a:cxn ang="0">
                <a:pos x="39" y="64"/>
              </a:cxn>
              <a:cxn ang="0">
                <a:pos x="34" y="66"/>
              </a:cxn>
              <a:cxn ang="0">
                <a:pos x="27" y="68"/>
              </a:cxn>
              <a:cxn ang="0">
                <a:pos x="19" y="68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1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778889" y="3779367"/>
            <a:ext cx="274637" cy="368300"/>
          </a:xfrm>
          <a:custGeom>
            <a:avLst/>
            <a:gdLst/>
            <a:ahLst/>
            <a:cxnLst>
              <a:cxn ang="0">
                <a:pos x="502" y="337"/>
              </a:cxn>
              <a:cxn ang="0">
                <a:pos x="484" y="341"/>
              </a:cxn>
              <a:cxn ang="0">
                <a:pos x="479" y="382"/>
              </a:cxn>
              <a:cxn ang="0">
                <a:pos x="515" y="404"/>
              </a:cxn>
              <a:cxn ang="0">
                <a:pos x="534" y="405"/>
              </a:cxn>
              <a:cxn ang="0">
                <a:pos x="550" y="424"/>
              </a:cxn>
              <a:cxn ang="0">
                <a:pos x="560" y="459"/>
              </a:cxn>
              <a:cxn ang="0">
                <a:pos x="572" y="474"/>
              </a:cxn>
              <a:cxn ang="0">
                <a:pos x="588" y="483"/>
              </a:cxn>
              <a:cxn ang="0">
                <a:pos x="614" y="487"/>
              </a:cxn>
              <a:cxn ang="0">
                <a:pos x="625" y="505"/>
              </a:cxn>
              <a:cxn ang="0">
                <a:pos x="625" y="539"/>
              </a:cxn>
              <a:cxn ang="0">
                <a:pos x="618" y="603"/>
              </a:cxn>
              <a:cxn ang="0">
                <a:pos x="611" y="672"/>
              </a:cxn>
              <a:cxn ang="0">
                <a:pos x="562" y="693"/>
              </a:cxn>
              <a:cxn ang="0">
                <a:pos x="539" y="693"/>
              </a:cxn>
              <a:cxn ang="0">
                <a:pos x="394" y="564"/>
              </a:cxn>
              <a:cxn ang="0">
                <a:pos x="397" y="552"/>
              </a:cxn>
              <a:cxn ang="0">
                <a:pos x="394" y="539"/>
              </a:cxn>
              <a:cxn ang="0">
                <a:pos x="338" y="488"/>
              </a:cxn>
              <a:cxn ang="0">
                <a:pos x="305" y="453"/>
              </a:cxn>
              <a:cxn ang="0">
                <a:pos x="293" y="419"/>
              </a:cxn>
              <a:cxn ang="0">
                <a:pos x="291" y="381"/>
              </a:cxn>
              <a:cxn ang="0">
                <a:pos x="285" y="360"/>
              </a:cxn>
              <a:cxn ang="0">
                <a:pos x="268" y="342"/>
              </a:cxn>
              <a:cxn ang="0">
                <a:pos x="241" y="310"/>
              </a:cxn>
              <a:cxn ang="0">
                <a:pos x="224" y="269"/>
              </a:cxn>
              <a:cxn ang="0">
                <a:pos x="213" y="238"/>
              </a:cxn>
              <a:cxn ang="0">
                <a:pos x="190" y="212"/>
              </a:cxn>
              <a:cxn ang="0">
                <a:pos x="150" y="171"/>
              </a:cxn>
              <a:cxn ang="0">
                <a:pos x="136" y="146"/>
              </a:cxn>
              <a:cxn ang="0">
                <a:pos x="112" y="132"/>
              </a:cxn>
              <a:cxn ang="0">
                <a:pos x="80" y="113"/>
              </a:cxn>
              <a:cxn ang="0">
                <a:pos x="49" y="85"/>
              </a:cxn>
              <a:cxn ang="0">
                <a:pos x="23" y="51"/>
              </a:cxn>
              <a:cxn ang="0">
                <a:pos x="5" y="19"/>
              </a:cxn>
              <a:cxn ang="0">
                <a:pos x="10" y="4"/>
              </a:cxn>
              <a:cxn ang="0">
                <a:pos x="37" y="13"/>
              </a:cxn>
              <a:cxn ang="0">
                <a:pos x="84" y="16"/>
              </a:cxn>
              <a:cxn ang="0">
                <a:pos x="116" y="20"/>
              </a:cxn>
              <a:cxn ang="0">
                <a:pos x="138" y="27"/>
              </a:cxn>
              <a:cxn ang="0">
                <a:pos x="156" y="42"/>
              </a:cxn>
              <a:cxn ang="0">
                <a:pos x="204" y="109"/>
              </a:cxn>
              <a:cxn ang="0">
                <a:pos x="254" y="163"/>
              </a:cxn>
              <a:cxn ang="0">
                <a:pos x="299" y="202"/>
              </a:cxn>
              <a:cxn ang="0">
                <a:pos x="329" y="219"/>
              </a:cxn>
              <a:cxn ang="0">
                <a:pos x="366" y="227"/>
              </a:cxn>
              <a:cxn ang="0">
                <a:pos x="388" y="230"/>
              </a:cxn>
              <a:cxn ang="0">
                <a:pos x="401" y="241"/>
              </a:cxn>
              <a:cxn ang="0">
                <a:pos x="416" y="260"/>
              </a:cxn>
              <a:cxn ang="0">
                <a:pos x="427" y="265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2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120190" y="3828586"/>
            <a:ext cx="254000" cy="257175"/>
          </a:xfrm>
          <a:custGeom>
            <a:avLst/>
            <a:gdLst/>
            <a:ahLst/>
            <a:cxnLst>
              <a:cxn ang="0">
                <a:pos x="516" y="28"/>
              </a:cxn>
              <a:cxn ang="0">
                <a:pos x="495" y="55"/>
              </a:cxn>
              <a:cxn ang="0">
                <a:pos x="512" y="93"/>
              </a:cxn>
              <a:cxn ang="0">
                <a:pos x="534" y="130"/>
              </a:cxn>
              <a:cxn ang="0">
                <a:pos x="573" y="177"/>
              </a:cxn>
              <a:cxn ang="0">
                <a:pos x="580" y="205"/>
              </a:cxn>
              <a:cxn ang="0">
                <a:pos x="547" y="204"/>
              </a:cxn>
              <a:cxn ang="0">
                <a:pos x="516" y="233"/>
              </a:cxn>
              <a:cxn ang="0">
                <a:pos x="506" y="246"/>
              </a:cxn>
              <a:cxn ang="0">
                <a:pos x="518" y="271"/>
              </a:cxn>
              <a:cxn ang="0">
                <a:pos x="525" y="294"/>
              </a:cxn>
              <a:cxn ang="0">
                <a:pos x="505" y="308"/>
              </a:cxn>
              <a:cxn ang="0">
                <a:pos x="459" y="323"/>
              </a:cxn>
              <a:cxn ang="0">
                <a:pos x="443" y="354"/>
              </a:cxn>
              <a:cxn ang="0">
                <a:pos x="445" y="415"/>
              </a:cxn>
              <a:cxn ang="0">
                <a:pos x="430" y="454"/>
              </a:cxn>
              <a:cxn ang="0">
                <a:pos x="400" y="472"/>
              </a:cxn>
              <a:cxn ang="0">
                <a:pos x="370" y="488"/>
              </a:cxn>
              <a:cxn ang="0">
                <a:pos x="341" y="493"/>
              </a:cxn>
              <a:cxn ang="0">
                <a:pos x="329" y="487"/>
              </a:cxn>
              <a:cxn ang="0">
                <a:pos x="327" y="471"/>
              </a:cxn>
              <a:cxn ang="0">
                <a:pos x="304" y="451"/>
              </a:cxn>
              <a:cxn ang="0">
                <a:pos x="251" y="454"/>
              </a:cxn>
              <a:cxn ang="0">
                <a:pos x="219" y="462"/>
              </a:cxn>
              <a:cxn ang="0">
                <a:pos x="176" y="440"/>
              </a:cxn>
              <a:cxn ang="0">
                <a:pos x="122" y="436"/>
              </a:cxn>
              <a:cxn ang="0">
                <a:pos x="95" y="429"/>
              </a:cxn>
              <a:cxn ang="0">
                <a:pos x="81" y="366"/>
              </a:cxn>
              <a:cxn ang="0">
                <a:pos x="58" y="310"/>
              </a:cxn>
              <a:cxn ang="0">
                <a:pos x="35" y="292"/>
              </a:cxn>
              <a:cxn ang="0">
                <a:pos x="12" y="260"/>
              </a:cxn>
              <a:cxn ang="0">
                <a:pos x="5" y="204"/>
              </a:cxn>
              <a:cxn ang="0">
                <a:pos x="31" y="153"/>
              </a:cxn>
              <a:cxn ang="0">
                <a:pos x="54" y="141"/>
              </a:cxn>
              <a:cxn ang="0">
                <a:pos x="75" y="152"/>
              </a:cxn>
              <a:cxn ang="0">
                <a:pos x="97" y="187"/>
              </a:cxn>
              <a:cxn ang="0">
                <a:pos x="129" y="214"/>
              </a:cxn>
              <a:cxn ang="0">
                <a:pos x="170" y="213"/>
              </a:cxn>
              <a:cxn ang="0">
                <a:pos x="221" y="189"/>
              </a:cxn>
              <a:cxn ang="0">
                <a:pos x="233" y="172"/>
              </a:cxn>
              <a:cxn ang="0">
                <a:pos x="288" y="178"/>
              </a:cxn>
              <a:cxn ang="0">
                <a:pos x="326" y="181"/>
              </a:cxn>
              <a:cxn ang="0">
                <a:pos x="337" y="170"/>
              </a:cxn>
              <a:cxn ang="0">
                <a:pos x="362" y="158"/>
              </a:cxn>
              <a:cxn ang="0">
                <a:pos x="383" y="136"/>
              </a:cxn>
              <a:cxn ang="0">
                <a:pos x="415" y="79"/>
              </a:cxn>
              <a:cxn ang="0">
                <a:pos x="427" y="25"/>
              </a:cxn>
              <a:cxn ang="0">
                <a:pos x="447" y="6"/>
              </a:cxn>
              <a:cxn ang="0">
                <a:pos x="479" y="2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3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475793" y="4234979"/>
            <a:ext cx="92075" cy="57151"/>
          </a:xfrm>
          <a:custGeom>
            <a:avLst/>
            <a:gdLst/>
            <a:ahLst/>
            <a:cxnLst>
              <a:cxn ang="0">
                <a:pos x="0" y="105"/>
              </a:cxn>
              <a:cxn ang="0">
                <a:pos x="16" y="85"/>
              </a:cxn>
              <a:cxn ang="0">
                <a:pos x="35" y="68"/>
              </a:cxn>
              <a:cxn ang="0">
                <a:pos x="44" y="60"/>
              </a:cxn>
              <a:cxn ang="0">
                <a:pos x="54" y="53"/>
              </a:cxn>
              <a:cxn ang="0">
                <a:pos x="64" y="46"/>
              </a:cxn>
              <a:cxn ang="0">
                <a:pos x="73" y="38"/>
              </a:cxn>
              <a:cxn ang="0">
                <a:pos x="83" y="32"/>
              </a:cxn>
              <a:cxn ang="0">
                <a:pos x="94" y="27"/>
              </a:cxn>
              <a:cxn ang="0">
                <a:pos x="106" y="21"/>
              </a:cxn>
              <a:cxn ang="0">
                <a:pos x="118" y="16"/>
              </a:cxn>
              <a:cxn ang="0">
                <a:pos x="144" y="8"/>
              </a:cxn>
              <a:cxn ang="0">
                <a:pos x="172" y="0"/>
              </a:cxn>
              <a:cxn ang="0">
                <a:pos x="212" y="0"/>
              </a:cxn>
              <a:cxn ang="0">
                <a:pos x="202" y="9"/>
              </a:cxn>
              <a:cxn ang="0">
                <a:pos x="190" y="18"/>
              </a:cxn>
              <a:cxn ang="0">
                <a:pos x="178" y="27"/>
              </a:cxn>
              <a:cxn ang="0">
                <a:pos x="165" y="35"/>
              </a:cxn>
              <a:cxn ang="0">
                <a:pos x="137" y="52"/>
              </a:cxn>
              <a:cxn ang="0">
                <a:pos x="109" y="66"/>
              </a:cxn>
              <a:cxn ang="0">
                <a:pos x="79" y="79"/>
              </a:cxn>
              <a:cxn ang="0">
                <a:pos x="50" y="90"/>
              </a:cxn>
              <a:cxn ang="0">
                <a:pos x="23" y="99"/>
              </a:cxn>
              <a:cxn ang="0">
                <a:pos x="0" y="105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4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591674" y="3901605"/>
            <a:ext cx="42862" cy="88900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0" y="148"/>
              </a:cxn>
              <a:cxn ang="0">
                <a:pos x="5" y="144"/>
              </a:cxn>
              <a:cxn ang="0">
                <a:pos x="12" y="139"/>
              </a:cxn>
              <a:cxn ang="0">
                <a:pos x="14" y="137"/>
              </a:cxn>
              <a:cxn ang="0">
                <a:pos x="17" y="135"/>
              </a:cxn>
              <a:cxn ang="0">
                <a:pos x="18" y="132"/>
              </a:cxn>
              <a:cxn ang="0">
                <a:pos x="19" y="130"/>
              </a:cxn>
              <a:cxn ang="0">
                <a:pos x="20" y="138"/>
              </a:cxn>
              <a:cxn ang="0">
                <a:pos x="24" y="148"/>
              </a:cxn>
              <a:cxn ang="0">
                <a:pos x="27" y="154"/>
              </a:cxn>
              <a:cxn ang="0">
                <a:pos x="30" y="159"/>
              </a:cxn>
              <a:cxn ang="0">
                <a:pos x="35" y="163"/>
              </a:cxn>
              <a:cxn ang="0">
                <a:pos x="39" y="166"/>
              </a:cxn>
              <a:cxn ang="0">
                <a:pos x="41" y="158"/>
              </a:cxn>
              <a:cxn ang="0">
                <a:pos x="41" y="148"/>
              </a:cxn>
              <a:cxn ang="0">
                <a:pos x="41" y="137"/>
              </a:cxn>
              <a:cxn ang="0">
                <a:pos x="41" y="126"/>
              </a:cxn>
              <a:cxn ang="0">
                <a:pos x="40" y="107"/>
              </a:cxn>
              <a:cxn ang="0">
                <a:pos x="39" y="99"/>
              </a:cxn>
              <a:cxn ang="0">
                <a:pos x="48" y="100"/>
              </a:cxn>
              <a:cxn ang="0">
                <a:pos x="57" y="102"/>
              </a:cxn>
              <a:cxn ang="0">
                <a:pos x="64" y="105"/>
              </a:cxn>
              <a:cxn ang="0">
                <a:pos x="71" y="108"/>
              </a:cxn>
              <a:cxn ang="0">
                <a:pos x="76" y="111"/>
              </a:cxn>
              <a:cxn ang="0">
                <a:pos x="82" y="114"/>
              </a:cxn>
              <a:cxn ang="0">
                <a:pos x="87" y="116"/>
              </a:cxn>
              <a:cxn ang="0">
                <a:pos x="92" y="118"/>
              </a:cxn>
              <a:cxn ang="0">
                <a:pos x="85" y="103"/>
              </a:cxn>
              <a:cxn ang="0">
                <a:pos x="81" y="89"/>
              </a:cxn>
              <a:cxn ang="0">
                <a:pos x="76" y="75"/>
              </a:cxn>
              <a:cxn ang="0">
                <a:pos x="73" y="60"/>
              </a:cxn>
              <a:cxn ang="0">
                <a:pos x="70" y="47"/>
              </a:cxn>
              <a:cxn ang="0">
                <a:pos x="67" y="34"/>
              </a:cxn>
              <a:cxn ang="0">
                <a:pos x="63" y="23"/>
              </a:cxn>
              <a:cxn ang="0">
                <a:pos x="59" y="13"/>
              </a:cxn>
              <a:cxn ang="0">
                <a:pos x="59" y="19"/>
              </a:cxn>
              <a:cxn ang="0">
                <a:pos x="59" y="25"/>
              </a:cxn>
              <a:cxn ang="0">
                <a:pos x="50" y="23"/>
              </a:cxn>
              <a:cxn ang="0">
                <a:pos x="42" y="19"/>
              </a:cxn>
              <a:cxn ang="0">
                <a:pos x="35" y="15"/>
              </a:cxn>
              <a:cxn ang="0">
                <a:pos x="29" y="11"/>
              </a:cxn>
              <a:cxn ang="0">
                <a:pos x="23" y="7"/>
              </a:cxn>
              <a:cxn ang="0">
                <a:pos x="16" y="3"/>
              </a:cxn>
              <a:cxn ang="0">
                <a:pos x="8" y="1"/>
              </a:cxn>
              <a:cxn ang="0">
                <a:pos x="0" y="0"/>
              </a:cxn>
              <a:cxn ang="0">
                <a:pos x="0" y="10"/>
              </a:cxn>
              <a:cxn ang="0">
                <a:pos x="0" y="19"/>
              </a:cxn>
              <a:cxn ang="0">
                <a:pos x="0" y="33"/>
              </a:cxn>
              <a:cxn ang="0">
                <a:pos x="0" y="52"/>
              </a:cxn>
              <a:cxn ang="0">
                <a:pos x="0" y="70"/>
              </a:cxn>
              <a:cxn ang="0">
                <a:pos x="0" y="81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5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604376" y="4046067"/>
            <a:ext cx="71437" cy="55563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4" y="3"/>
              </a:cxn>
              <a:cxn ang="0">
                <a:pos x="22" y="6"/>
              </a:cxn>
              <a:cxn ang="0">
                <a:pos x="30" y="7"/>
              </a:cxn>
              <a:cxn ang="0">
                <a:pos x="36" y="8"/>
              </a:cxn>
              <a:cxn ang="0">
                <a:pos x="48" y="8"/>
              </a:cxn>
              <a:cxn ang="0">
                <a:pos x="58" y="7"/>
              </a:cxn>
              <a:cxn ang="0">
                <a:pos x="69" y="5"/>
              </a:cxn>
              <a:cxn ang="0">
                <a:pos x="80" y="3"/>
              </a:cxn>
              <a:cxn ang="0">
                <a:pos x="92" y="1"/>
              </a:cxn>
              <a:cxn ang="0">
                <a:pos x="106" y="0"/>
              </a:cxn>
              <a:cxn ang="0">
                <a:pos x="111" y="1"/>
              </a:cxn>
              <a:cxn ang="0">
                <a:pos x="115" y="2"/>
              </a:cxn>
              <a:cxn ang="0">
                <a:pos x="120" y="5"/>
              </a:cxn>
              <a:cxn ang="0">
                <a:pos x="124" y="8"/>
              </a:cxn>
              <a:cxn ang="0">
                <a:pos x="132" y="17"/>
              </a:cxn>
              <a:cxn ang="0">
                <a:pos x="138" y="26"/>
              </a:cxn>
              <a:cxn ang="0">
                <a:pos x="145" y="36"/>
              </a:cxn>
              <a:cxn ang="0">
                <a:pos x="151" y="45"/>
              </a:cxn>
              <a:cxn ang="0">
                <a:pos x="155" y="49"/>
              </a:cxn>
              <a:cxn ang="0">
                <a:pos x="158" y="52"/>
              </a:cxn>
              <a:cxn ang="0">
                <a:pos x="162" y="54"/>
              </a:cxn>
              <a:cxn ang="0">
                <a:pos x="166" y="56"/>
              </a:cxn>
              <a:cxn ang="0">
                <a:pos x="159" y="57"/>
              </a:cxn>
              <a:cxn ang="0">
                <a:pos x="151" y="59"/>
              </a:cxn>
              <a:cxn ang="0">
                <a:pos x="143" y="61"/>
              </a:cxn>
              <a:cxn ang="0">
                <a:pos x="133" y="62"/>
              </a:cxn>
              <a:cxn ang="0">
                <a:pos x="125" y="61"/>
              </a:cxn>
              <a:cxn ang="0">
                <a:pos x="119" y="58"/>
              </a:cxn>
              <a:cxn ang="0">
                <a:pos x="112" y="54"/>
              </a:cxn>
              <a:cxn ang="0">
                <a:pos x="106" y="50"/>
              </a:cxn>
              <a:cxn ang="0">
                <a:pos x="100" y="45"/>
              </a:cxn>
              <a:cxn ang="0">
                <a:pos x="93" y="41"/>
              </a:cxn>
              <a:cxn ang="0">
                <a:pos x="87" y="39"/>
              </a:cxn>
              <a:cxn ang="0">
                <a:pos x="79" y="38"/>
              </a:cxn>
              <a:cxn ang="0">
                <a:pos x="56" y="38"/>
              </a:cxn>
              <a:cxn ang="0">
                <a:pos x="35" y="39"/>
              </a:cxn>
              <a:cxn ang="0">
                <a:pos x="26" y="41"/>
              </a:cxn>
              <a:cxn ang="0">
                <a:pos x="19" y="43"/>
              </a:cxn>
              <a:cxn ang="0">
                <a:pos x="12" y="46"/>
              </a:cxn>
              <a:cxn ang="0">
                <a:pos x="7" y="50"/>
              </a:cxn>
              <a:cxn ang="0">
                <a:pos x="2" y="45"/>
              </a:cxn>
              <a:cxn ang="0">
                <a:pos x="1" y="40"/>
              </a:cxn>
              <a:cxn ang="0">
                <a:pos x="0" y="34"/>
              </a:cxn>
              <a:cxn ang="0">
                <a:pos x="1" y="28"/>
              </a:cxn>
              <a:cxn ang="0">
                <a:pos x="4" y="15"/>
              </a:cxn>
              <a:cxn ang="0">
                <a:pos x="7" y="0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6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680589" y="3969867"/>
            <a:ext cx="85725" cy="63500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48" y="25"/>
              </a:cxn>
              <a:cxn ang="0">
                <a:pos x="68" y="12"/>
              </a:cxn>
              <a:cxn ang="0">
                <a:pos x="84" y="4"/>
              </a:cxn>
              <a:cxn ang="0">
                <a:pos x="94" y="1"/>
              </a:cxn>
              <a:cxn ang="0">
                <a:pos x="105" y="1"/>
              </a:cxn>
              <a:cxn ang="0">
                <a:pos x="116" y="3"/>
              </a:cxn>
              <a:cxn ang="0">
                <a:pos x="131" y="10"/>
              </a:cxn>
              <a:cxn ang="0">
                <a:pos x="148" y="21"/>
              </a:cxn>
              <a:cxn ang="0">
                <a:pos x="162" y="28"/>
              </a:cxn>
              <a:cxn ang="0">
                <a:pos x="173" y="30"/>
              </a:cxn>
              <a:cxn ang="0">
                <a:pos x="179" y="48"/>
              </a:cxn>
              <a:cxn ang="0">
                <a:pos x="178" y="66"/>
              </a:cxn>
              <a:cxn ang="0">
                <a:pos x="182" y="75"/>
              </a:cxn>
              <a:cxn ang="0">
                <a:pos x="187" y="89"/>
              </a:cxn>
              <a:cxn ang="0">
                <a:pos x="188" y="102"/>
              </a:cxn>
              <a:cxn ang="0">
                <a:pos x="191" y="109"/>
              </a:cxn>
              <a:cxn ang="0">
                <a:pos x="188" y="114"/>
              </a:cxn>
              <a:cxn ang="0">
                <a:pos x="177" y="118"/>
              </a:cxn>
              <a:cxn ang="0">
                <a:pos x="159" y="121"/>
              </a:cxn>
              <a:cxn ang="0">
                <a:pos x="116" y="119"/>
              </a:cxn>
              <a:cxn ang="0">
                <a:pos x="72" y="116"/>
              </a:cxn>
              <a:cxn ang="0">
                <a:pos x="63" y="110"/>
              </a:cxn>
              <a:cxn ang="0">
                <a:pos x="56" y="100"/>
              </a:cxn>
              <a:cxn ang="0">
                <a:pos x="54" y="87"/>
              </a:cxn>
              <a:cxn ang="0">
                <a:pos x="47" y="79"/>
              </a:cxn>
              <a:cxn ang="0">
                <a:pos x="31" y="75"/>
              </a:cxn>
              <a:cxn ang="0">
                <a:pos x="13" y="69"/>
              </a:cxn>
              <a:cxn ang="0">
                <a:pos x="3" y="62"/>
              </a:cxn>
              <a:cxn ang="0">
                <a:pos x="0" y="58"/>
              </a:cxn>
              <a:cxn ang="0">
                <a:pos x="1" y="51"/>
              </a:cxn>
              <a:cxn ang="0">
                <a:pos x="7" y="45"/>
              </a:cxn>
              <a:cxn ang="0">
                <a:pos x="20" y="38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7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369429" y="3907955"/>
            <a:ext cx="166687" cy="230188"/>
          </a:xfrm>
          <a:custGeom>
            <a:avLst/>
            <a:gdLst/>
            <a:ahLst/>
            <a:cxnLst>
              <a:cxn ang="0">
                <a:pos x="37" y="419"/>
              </a:cxn>
              <a:cxn ang="0">
                <a:pos x="46" y="407"/>
              </a:cxn>
              <a:cxn ang="0">
                <a:pos x="24" y="311"/>
              </a:cxn>
              <a:cxn ang="0">
                <a:pos x="2" y="294"/>
              </a:cxn>
              <a:cxn ang="0">
                <a:pos x="15" y="270"/>
              </a:cxn>
              <a:cxn ang="0">
                <a:pos x="31" y="221"/>
              </a:cxn>
              <a:cxn ang="0">
                <a:pos x="39" y="172"/>
              </a:cxn>
              <a:cxn ang="0">
                <a:pos x="57" y="159"/>
              </a:cxn>
              <a:cxn ang="0">
                <a:pos x="65" y="130"/>
              </a:cxn>
              <a:cxn ang="0">
                <a:pos x="76" y="78"/>
              </a:cxn>
              <a:cxn ang="0">
                <a:pos x="90" y="51"/>
              </a:cxn>
              <a:cxn ang="0">
                <a:pos x="115" y="31"/>
              </a:cxn>
              <a:cxn ang="0">
                <a:pos x="153" y="25"/>
              </a:cxn>
              <a:cxn ang="0">
                <a:pos x="217" y="38"/>
              </a:cxn>
              <a:cxn ang="0">
                <a:pos x="262" y="48"/>
              </a:cxn>
              <a:cxn ang="0">
                <a:pos x="303" y="45"/>
              </a:cxn>
              <a:cxn ang="0">
                <a:pos x="329" y="31"/>
              </a:cxn>
              <a:cxn ang="0">
                <a:pos x="356" y="7"/>
              </a:cxn>
              <a:cxn ang="0">
                <a:pos x="374" y="9"/>
              </a:cxn>
              <a:cxn ang="0">
                <a:pos x="372" y="35"/>
              </a:cxn>
              <a:cxn ang="0">
                <a:pos x="329" y="80"/>
              </a:cxn>
              <a:cxn ang="0">
                <a:pos x="292" y="97"/>
              </a:cxn>
              <a:cxn ang="0">
                <a:pos x="271" y="94"/>
              </a:cxn>
              <a:cxn ang="0">
                <a:pos x="238" y="69"/>
              </a:cxn>
              <a:cxn ang="0">
                <a:pos x="212" y="56"/>
              </a:cxn>
              <a:cxn ang="0">
                <a:pos x="177" y="56"/>
              </a:cxn>
              <a:cxn ang="0">
                <a:pos x="138" y="61"/>
              </a:cxn>
              <a:cxn ang="0">
                <a:pos x="114" y="79"/>
              </a:cxn>
              <a:cxn ang="0">
                <a:pos x="79" y="161"/>
              </a:cxn>
              <a:cxn ang="0">
                <a:pos x="119" y="169"/>
              </a:cxn>
              <a:cxn ang="0">
                <a:pos x="133" y="191"/>
              </a:cxn>
              <a:cxn ang="0">
                <a:pos x="155" y="168"/>
              </a:cxn>
              <a:cxn ang="0">
                <a:pos x="172" y="153"/>
              </a:cxn>
              <a:cxn ang="0">
                <a:pos x="221" y="150"/>
              </a:cxn>
              <a:cxn ang="0">
                <a:pos x="250" y="147"/>
              </a:cxn>
              <a:cxn ang="0">
                <a:pos x="273" y="173"/>
              </a:cxn>
              <a:cxn ang="0">
                <a:pos x="279" y="203"/>
              </a:cxn>
              <a:cxn ang="0">
                <a:pos x="246" y="192"/>
              </a:cxn>
              <a:cxn ang="0">
                <a:pos x="218" y="185"/>
              </a:cxn>
              <a:cxn ang="0">
                <a:pos x="192" y="195"/>
              </a:cxn>
              <a:cxn ang="0">
                <a:pos x="186" y="209"/>
              </a:cxn>
              <a:cxn ang="0">
                <a:pos x="192" y="233"/>
              </a:cxn>
              <a:cxn ang="0">
                <a:pos x="220" y="272"/>
              </a:cxn>
              <a:cxn ang="0">
                <a:pos x="225" y="296"/>
              </a:cxn>
              <a:cxn ang="0">
                <a:pos x="215" y="322"/>
              </a:cxn>
              <a:cxn ang="0">
                <a:pos x="205" y="345"/>
              </a:cxn>
              <a:cxn ang="0">
                <a:pos x="210" y="356"/>
              </a:cxn>
              <a:cxn ang="0">
                <a:pos x="236" y="368"/>
              </a:cxn>
              <a:cxn ang="0">
                <a:pos x="252" y="400"/>
              </a:cxn>
              <a:cxn ang="0">
                <a:pos x="239" y="429"/>
              </a:cxn>
              <a:cxn ang="0">
                <a:pos x="221" y="421"/>
              </a:cxn>
              <a:cxn ang="0">
                <a:pos x="202" y="417"/>
              </a:cxn>
              <a:cxn ang="0">
                <a:pos x="177" y="400"/>
              </a:cxn>
              <a:cxn ang="0">
                <a:pos x="153" y="356"/>
              </a:cxn>
              <a:cxn ang="0">
                <a:pos x="137" y="304"/>
              </a:cxn>
              <a:cxn ang="0">
                <a:pos x="114" y="263"/>
              </a:cxn>
              <a:cxn ang="0">
                <a:pos x="97" y="259"/>
              </a:cxn>
              <a:cxn ang="0">
                <a:pos x="105" y="381"/>
              </a:cxn>
              <a:cxn ang="0">
                <a:pos x="93" y="404"/>
              </a:cxn>
              <a:cxn ang="0">
                <a:pos x="57" y="426"/>
              </a:cxn>
              <a:cxn ang="0">
                <a:pos x="59" y="437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8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7034476" y="4149253"/>
            <a:ext cx="250825" cy="95251"/>
          </a:xfrm>
          <a:custGeom>
            <a:avLst/>
            <a:gdLst/>
            <a:ahLst/>
            <a:cxnLst>
              <a:cxn ang="0">
                <a:pos x="11" y="50"/>
              </a:cxn>
              <a:cxn ang="0">
                <a:pos x="24" y="32"/>
              </a:cxn>
              <a:cxn ang="0">
                <a:pos x="41" y="7"/>
              </a:cxn>
              <a:cxn ang="0">
                <a:pos x="54" y="0"/>
              </a:cxn>
              <a:cxn ang="0">
                <a:pos x="79" y="2"/>
              </a:cxn>
              <a:cxn ang="0">
                <a:pos x="95" y="2"/>
              </a:cxn>
              <a:cxn ang="0">
                <a:pos x="101" y="5"/>
              </a:cxn>
              <a:cxn ang="0">
                <a:pos x="115" y="15"/>
              </a:cxn>
              <a:cxn ang="0">
                <a:pos x="147" y="27"/>
              </a:cxn>
              <a:cxn ang="0">
                <a:pos x="168" y="37"/>
              </a:cxn>
              <a:cxn ang="0">
                <a:pos x="178" y="53"/>
              </a:cxn>
              <a:cxn ang="0">
                <a:pos x="192" y="61"/>
              </a:cxn>
              <a:cxn ang="0">
                <a:pos x="231" y="60"/>
              </a:cxn>
              <a:cxn ang="0">
                <a:pos x="277" y="51"/>
              </a:cxn>
              <a:cxn ang="0">
                <a:pos x="299" y="39"/>
              </a:cxn>
              <a:cxn ang="0">
                <a:pos x="314" y="34"/>
              </a:cxn>
              <a:cxn ang="0">
                <a:pos x="327" y="35"/>
              </a:cxn>
              <a:cxn ang="0">
                <a:pos x="339" y="31"/>
              </a:cxn>
              <a:cxn ang="0">
                <a:pos x="366" y="34"/>
              </a:cxn>
              <a:cxn ang="0">
                <a:pos x="399" y="59"/>
              </a:cxn>
              <a:cxn ang="0">
                <a:pos x="428" y="89"/>
              </a:cxn>
              <a:cxn ang="0">
                <a:pos x="456" y="105"/>
              </a:cxn>
              <a:cxn ang="0">
                <a:pos x="479" y="107"/>
              </a:cxn>
              <a:cxn ang="0">
                <a:pos x="493" y="108"/>
              </a:cxn>
              <a:cxn ang="0">
                <a:pos x="505" y="125"/>
              </a:cxn>
              <a:cxn ang="0">
                <a:pos x="522" y="140"/>
              </a:cxn>
              <a:cxn ang="0">
                <a:pos x="534" y="139"/>
              </a:cxn>
              <a:cxn ang="0">
                <a:pos x="546" y="128"/>
              </a:cxn>
              <a:cxn ang="0">
                <a:pos x="558" y="134"/>
              </a:cxn>
              <a:cxn ang="0">
                <a:pos x="571" y="145"/>
              </a:cxn>
              <a:cxn ang="0">
                <a:pos x="578" y="160"/>
              </a:cxn>
              <a:cxn ang="0">
                <a:pos x="575" y="173"/>
              </a:cxn>
              <a:cxn ang="0">
                <a:pos x="567" y="182"/>
              </a:cxn>
              <a:cxn ang="0">
                <a:pos x="551" y="178"/>
              </a:cxn>
              <a:cxn ang="0">
                <a:pos x="526" y="170"/>
              </a:cxn>
              <a:cxn ang="0">
                <a:pos x="491" y="172"/>
              </a:cxn>
              <a:cxn ang="0">
                <a:pos x="462" y="170"/>
              </a:cxn>
              <a:cxn ang="0">
                <a:pos x="451" y="160"/>
              </a:cxn>
              <a:cxn ang="0">
                <a:pos x="438" y="154"/>
              </a:cxn>
              <a:cxn ang="0">
                <a:pos x="426" y="160"/>
              </a:cxn>
              <a:cxn ang="0">
                <a:pos x="416" y="170"/>
              </a:cxn>
              <a:cxn ang="0">
                <a:pos x="398" y="171"/>
              </a:cxn>
              <a:cxn ang="0">
                <a:pos x="328" y="153"/>
              </a:cxn>
              <a:cxn ang="0">
                <a:pos x="277" y="132"/>
              </a:cxn>
              <a:cxn ang="0">
                <a:pos x="266" y="123"/>
              </a:cxn>
              <a:cxn ang="0">
                <a:pos x="230" y="119"/>
              </a:cxn>
              <a:cxn ang="0">
                <a:pos x="201" y="113"/>
              </a:cxn>
              <a:cxn ang="0">
                <a:pos x="168" y="111"/>
              </a:cxn>
              <a:cxn ang="0">
                <a:pos x="146" y="111"/>
              </a:cxn>
              <a:cxn ang="0">
                <a:pos x="124" y="105"/>
              </a:cxn>
              <a:cxn ang="0">
                <a:pos x="120" y="99"/>
              </a:cxn>
              <a:cxn ang="0">
                <a:pos x="69" y="97"/>
              </a:cxn>
              <a:cxn ang="0">
                <a:pos x="46" y="88"/>
              </a:cxn>
              <a:cxn ang="0">
                <a:pos x="0" y="55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9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715499" y="4006384"/>
            <a:ext cx="214312" cy="252413"/>
          </a:xfrm>
          <a:custGeom>
            <a:avLst/>
            <a:gdLst/>
            <a:ahLst/>
            <a:cxnLst>
              <a:cxn ang="0">
                <a:pos x="482" y="479"/>
              </a:cxn>
              <a:cxn ang="0">
                <a:pos x="457" y="465"/>
              </a:cxn>
              <a:cxn ang="0">
                <a:pos x="422" y="434"/>
              </a:cxn>
              <a:cxn ang="0">
                <a:pos x="412" y="417"/>
              </a:cxn>
              <a:cxn ang="0">
                <a:pos x="376" y="410"/>
              </a:cxn>
              <a:cxn ang="0">
                <a:pos x="360" y="406"/>
              </a:cxn>
              <a:cxn ang="0">
                <a:pos x="350" y="396"/>
              </a:cxn>
              <a:cxn ang="0">
                <a:pos x="346" y="374"/>
              </a:cxn>
              <a:cxn ang="0">
                <a:pos x="342" y="332"/>
              </a:cxn>
              <a:cxn ang="0">
                <a:pos x="327" y="303"/>
              </a:cxn>
              <a:cxn ang="0">
                <a:pos x="319" y="277"/>
              </a:cxn>
              <a:cxn ang="0">
                <a:pos x="314" y="244"/>
              </a:cxn>
              <a:cxn ang="0">
                <a:pos x="292" y="223"/>
              </a:cxn>
              <a:cxn ang="0">
                <a:pos x="260" y="205"/>
              </a:cxn>
              <a:cxn ang="0">
                <a:pos x="221" y="190"/>
              </a:cxn>
              <a:cxn ang="0">
                <a:pos x="178" y="181"/>
              </a:cxn>
              <a:cxn ang="0">
                <a:pos x="133" y="178"/>
              </a:cxn>
              <a:cxn ang="0">
                <a:pos x="133" y="156"/>
              </a:cxn>
              <a:cxn ang="0">
                <a:pos x="110" y="145"/>
              </a:cxn>
              <a:cxn ang="0">
                <a:pos x="85" y="130"/>
              </a:cxn>
              <a:cxn ang="0">
                <a:pos x="66" y="111"/>
              </a:cxn>
              <a:cxn ang="0">
                <a:pos x="73" y="133"/>
              </a:cxn>
              <a:cxn ang="0">
                <a:pos x="54" y="147"/>
              </a:cxn>
              <a:cxn ang="0">
                <a:pos x="40" y="178"/>
              </a:cxn>
              <a:cxn ang="0">
                <a:pos x="24" y="220"/>
              </a:cxn>
              <a:cxn ang="0">
                <a:pos x="13" y="265"/>
              </a:cxn>
              <a:cxn ang="0">
                <a:pos x="14" y="237"/>
              </a:cxn>
              <a:cxn ang="0">
                <a:pos x="23" y="209"/>
              </a:cxn>
              <a:cxn ang="0">
                <a:pos x="32" y="181"/>
              </a:cxn>
              <a:cxn ang="0">
                <a:pos x="30" y="143"/>
              </a:cxn>
              <a:cxn ang="0">
                <a:pos x="17" y="111"/>
              </a:cxn>
              <a:cxn ang="0">
                <a:pos x="0" y="73"/>
              </a:cxn>
              <a:cxn ang="0">
                <a:pos x="34" y="59"/>
              </a:cxn>
              <a:cxn ang="0">
                <a:pos x="59" y="55"/>
              </a:cxn>
              <a:cxn ang="0">
                <a:pos x="84" y="58"/>
              </a:cxn>
              <a:cxn ang="0">
                <a:pos x="102" y="66"/>
              </a:cxn>
              <a:cxn ang="0">
                <a:pos x="121" y="82"/>
              </a:cxn>
              <a:cxn ang="0">
                <a:pos x="140" y="111"/>
              </a:cxn>
              <a:cxn ang="0">
                <a:pos x="183" y="103"/>
              </a:cxn>
              <a:cxn ang="0">
                <a:pos x="196" y="96"/>
              </a:cxn>
              <a:cxn ang="0">
                <a:pos x="200" y="90"/>
              </a:cxn>
              <a:cxn ang="0">
                <a:pos x="207" y="73"/>
              </a:cxn>
              <a:cxn ang="0">
                <a:pos x="232" y="54"/>
              </a:cxn>
              <a:cxn ang="0">
                <a:pos x="254" y="49"/>
              </a:cxn>
              <a:cxn ang="0">
                <a:pos x="263" y="30"/>
              </a:cxn>
              <a:cxn ang="0">
                <a:pos x="280" y="9"/>
              </a:cxn>
              <a:cxn ang="0">
                <a:pos x="300" y="1"/>
              </a:cxn>
              <a:cxn ang="0">
                <a:pos x="323" y="0"/>
              </a:cxn>
              <a:cxn ang="0">
                <a:pos x="351" y="8"/>
              </a:cxn>
              <a:cxn ang="0">
                <a:pos x="399" y="38"/>
              </a:cxn>
              <a:cxn ang="0">
                <a:pos x="428" y="53"/>
              </a:cxn>
              <a:cxn ang="0">
                <a:pos x="459" y="60"/>
              </a:cxn>
              <a:cxn ang="0">
                <a:pos x="491" y="67"/>
              </a:cxn>
              <a:cxn ang="0">
                <a:pos x="491" y="326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0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247076" y="2838006"/>
            <a:ext cx="53975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72" y="0"/>
              </a:cxn>
              <a:cxn ang="0">
                <a:pos x="81" y="6"/>
              </a:cxn>
              <a:cxn ang="0">
                <a:pos x="91" y="14"/>
              </a:cxn>
              <a:cxn ang="0">
                <a:pos x="101" y="25"/>
              </a:cxn>
              <a:cxn ang="0">
                <a:pos x="109" y="37"/>
              </a:cxn>
              <a:cxn ang="0">
                <a:pos x="118" y="49"/>
              </a:cxn>
              <a:cxn ang="0">
                <a:pos x="126" y="62"/>
              </a:cxn>
              <a:cxn ang="0">
                <a:pos x="128" y="68"/>
              </a:cxn>
              <a:cxn ang="0">
                <a:pos x="130" y="74"/>
              </a:cxn>
              <a:cxn ang="0">
                <a:pos x="131" y="80"/>
              </a:cxn>
              <a:cxn ang="0">
                <a:pos x="133" y="86"/>
              </a:cxn>
              <a:cxn ang="0">
                <a:pos x="131" y="92"/>
              </a:cxn>
              <a:cxn ang="0">
                <a:pos x="128" y="97"/>
              </a:cxn>
              <a:cxn ang="0">
                <a:pos x="124" y="102"/>
              </a:cxn>
              <a:cxn ang="0">
                <a:pos x="118" y="107"/>
              </a:cxn>
              <a:cxn ang="0">
                <a:pos x="113" y="111"/>
              </a:cxn>
              <a:cxn ang="0">
                <a:pos x="107" y="114"/>
              </a:cxn>
              <a:cxn ang="0">
                <a:pos x="103" y="117"/>
              </a:cxn>
              <a:cxn ang="0">
                <a:pos x="100" y="117"/>
              </a:cxn>
              <a:cxn ang="0">
                <a:pos x="72" y="95"/>
              </a:cxn>
              <a:cxn ang="0">
                <a:pos x="45" y="70"/>
              </a:cxn>
              <a:cxn ang="0">
                <a:pos x="32" y="58"/>
              </a:cxn>
              <a:cxn ang="0">
                <a:pos x="18" y="46"/>
              </a:cxn>
              <a:cxn ang="0">
                <a:pos x="8" y="33"/>
              </a:cxn>
              <a:cxn ang="0">
                <a:pos x="0" y="19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1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704015" y="2242667"/>
            <a:ext cx="220663" cy="177800"/>
          </a:xfrm>
          <a:custGeom>
            <a:avLst/>
            <a:gdLst/>
            <a:ahLst/>
            <a:cxnLst>
              <a:cxn ang="0">
                <a:pos x="272" y="36"/>
              </a:cxn>
              <a:cxn ang="0">
                <a:pos x="484" y="86"/>
              </a:cxn>
              <a:cxn ang="0">
                <a:pos x="478" y="109"/>
              </a:cxn>
              <a:cxn ang="0">
                <a:pos x="471" y="129"/>
              </a:cxn>
              <a:cxn ang="0">
                <a:pos x="461" y="145"/>
              </a:cxn>
              <a:cxn ang="0">
                <a:pos x="451" y="153"/>
              </a:cxn>
              <a:cxn ang="0">
                <a:pos x="461" y="184"/>
              </a:cxn>
              <a:cxn ang="0">
                <a:pos x="477" y="215"/>
              </a:cxn>
              <a:cxn ang="0">
                <a:pos x="505" y="258"/>
              </a:cxn>
              <a:cxn ang="0">
                <a:pos x="493" y="271"/>
              </a:cxn>
              <a:cxn ang="0">
                <a:pos x="479" y="292"/>
              </a:cxn>
              <a:cxn ang="0">
                <a:pos x="468" y="314"/>
              </a:cxn>
              <a:cxn ang="0">
                <a:pos x="464" y="339"/>
              </a:cxn>
              <a:cxn ang="0">
                <a:pos x="443" y="338"/>
              </a:cxn>
              <a:cxn ang="0">
                <a:pos x="414" y="335"/>
              </a:cxn>
              <a:cxn ang="0">
                <a:pos x="385" y="331"/>
              </a:cxn>
              <a:cxn ang="0">
                <a:pos x="358" y="326"/>
              </a:cxn>
              <a:cxn ang="0">
                <a:pos x="304" y="325"/>
              </a:cxn>
              <a:cxn ang="0">
                <a:pos x="264" y="321"/>
              </a:cxn>
              <a:cxn ang="0">
                <a:pos x="248" y="317"/>
              </a:cxn>
              <a:cxn ang="0">
                <a:pos x="232" y="310"/>
              </a:cxn>
              <a:cxn ang="0">
                <a:pos x="213" y="300"/>
              </a:cxn>
              <a:cxn ang="0">
                <a:pos x="180" y="289"/>
              </a:cxn>
              <a:cxn ang="0">
                <a:pos x="146" y="273"/>
              </a:cxn>
              <a:cxn ang="0">
                <a:pos x="98" y="249"/>
              </a:cxn>
              <a:cxn ang="0">
                <a:pos x="62" y="206"/>
              </a:cxn>
              <a:cxn ang="0">
                <a:pos x="52" y="169"/>
              </a:cxn>
              <a:cxn ang="0">
                <a:pos x="36" y="124"/>
              </a:cxn>
              <a:cxn ang="0">
                <a:pos x="15" y="83"/>
              </a:cxn>
              <a:cxn ang="0">
                <a:pos x="2" y="64"/>
              </a:cxn>
              <a:cxn ang="0">
                <a:pos x="5" y="61"/>
              </a:cxn>
              <a:cxn ang="0">
                <a:pos x="11" y="56"/>
              </a:cxn>
              <a:cxn ang="0">
                <a:pos x="11" y="48"/>
              </a:cxn>
              <a:cxn ang="0">
                <a:pos x="11" y="43"/>
              </a:cxn>
              <a:cxn ang="0">
                <a:pos x="34" y="34"/>
              </a:cxn>
              <a:cxn ang="0">
                <a:pos x="73" y="22"/>
              </a:cxn>
              <a:cxn ang="0">
                <a:pos x="128" y="8"/>
              </a:cxn>
              <a:cxn ang="0">
                <a:pos x="173" y="11"/>
              </a:cxn>
              <a:cxn ang="0">
                <a:pos x="188" y="28"/>
              </a:cxn>
              <a:cxn ang="0">
                <a:pos x="201" y="35"/>
              </a:cxn>
              <a:cxn ang="0">
                <a:pos x="219" y="36"/>
              </a:cxn>
              <a:cxn ang="0">
                <a:pos x="239" y="36"/>
              </a:cxn>
              <a:cxn ang="0">
                <a:pos x="259" y="24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2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767516" y="2447454"/>
            <a:ext cx="146050" cy="71439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186" y="0"/>
              </a:cxn>
              <a:cxn ang="0">
                <a:pos x="168" y="8"/>
              </a:cxn>
              <a:cxn ang="0">
                <a:pos x="144" y="21"/>
              </a:cxn>
              <a:cxn ang="0">
                <a:pos x="132" y="27"/>
              </a:cxn>
              <a:cxn ang="0">
                <a:pos x="119" y="32"/>
              </a:cxn>
              <a:cxn ang="0">
                <a:pos x="112" y="34"/>
              </a:cxn>
              <a:cxn ang="0">
                <a:pos x="105" y="35"/>
              </a:cxn>
              <a:cxn ang="0">
                <a:pos x="99" y="36"/>
              </a:cxn>
              <a:cxn ang="0">
                <a:pos x="93" y="37"/>
              </a:cxn>
              <a:cxn ang="0">
                <a:pos x="88" y="36"/>
              </a:cxn>
              <a:cxn ang="0">
                <a:pos x="84" y="35"/>
              </a:cxn>
              <a:cxn ang="0">
                <a:pos x="78" y="32"/>
              </a:cxn>
              <a:cxn ang="0">
                <a:pos x="74" y="30"/>
              </a:cxn>
              <a:cxn ang="0">
                <a:pos x="66" y="24"/>
              </a:cxn>
              <a:cxn ang="0">
                <a:pos x="59" y="18"/>
              </a:cxn>
              <a:cxn ang="0">
                <a:pos x="49" y="34"/>
              </a:cxn>
              <a:cxn ang="0">
                <a:pos x="37" y="51"/>
              </a:cxn>
              <a:cxn ang="0">
                <a:pos x="30" y="60"/>
              </a:cxn>
              <a:cxn ang="0">
                <a:pos x="21" y="68"/>
              </a:cxn>
              <a:cxn ang="0">
                <a:pos x="11" y="75"/>
              </a:cxn>
              <a:cxn ang="0">
                <a:pos x="0" y="80"/>
              </a:cxn>
              <a:cxn ang="0">
                <a:pos x="12" y="90"/>
              </a:cxn>
              <a:cxn ang="0">
                <a:pos x="23" y="100"/>
              </a:cxn>
              <a:cxn ang="0">
                <a:pos x="33" y="108"/>
              </a:cxn>
              <a:cxn ang="0">
                <a:pos x="44" y="116"/>
              </a:cxn>
              <a:cxn ang="0">
                <a:pos x="55" y="122"/>
              </a:cxn>
              <a:cxn ang="0">
                <a:pos x="66" y="129"/>
              </a:cxn>
              <a:cxn ang="0">
                <a:pos x="79" y="135"/>
              </a:cxn>
              <a:cxn ang="0">
                <a:pos x="93" y="141"/>
              </a:cxn>
              <a:cxn ang="0">
                <a:pos x="259" y="141"/>
              </a:cxn>
              <a:cxn ang="0">
                <a:pos x="269" y="124"/>
              </a:cxn>
              <a:cxn ang="0">
                <a:pos x="281" y="107"/>
              </a:cxn>
              <a:cxn ang="0">
                <a:pos x="292" y="92"/>
              </a:cxn>
              <a:cxn ang="0">
                <a:pos x="304" y="78"/>
              </a:cxn>
              <a:cxn ang="0">
                <a:pos x="315" y="64"/>
              </a:cxn>
              <a:cxn ang="0">
                <a:pos x="324" y="48"/>
              </a:cxn>
              <a:cxn ang="0">
                <a:pos x="333" y="34"/>
              </a:cxn>
              <a:cxn ang="0">
                <a:pos x="338" y="18"/>
              </a:cxn>
              <a:cxn ang="0">
                <a:pos x="312" y="0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3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867539" y="2102977"/>
            <a:ext cx="111125" cy="65087"/>
          </a:xfrm>
          <a:custGeom>
            <a:avLst/>
            <a:gdLst/>
            <a:ahLst/>
            <a:cxnLst>
              <a:cxn ang="0">
                <a:pos x="259" y="129"/>
              </a:cxn>
              <a:cxn ang="0">
                <a:pos x="255" y="102"/>
              </a:cxn>
              <a:cxn ang="0">
                <a:pos x="252" y="80"/>
              </a:cxn>
              <a:cxn ang="0">
                <a:pos x="252" y="63"/>
              </a:cxn>
              <a:cxn ang="0">
                <a:pos x="253" y="50"/>
              </a:cxn>
              <a:cxn ang="0">
                <a:pos x="257" y="29"/>
              </a:cxn>
              <a:cxn ang="0">
                <a:pos x="259" y="12"/>
              </a:cxn>
              <a:cxn ang="0">
                <a:pos x="258" y="14"/>
              </a:cxn>
              <a:cxn ang="0">
                <a:pos x="256" y="16"/>
              </a:cxn>
              <a:cxn ang="0">
                <a:pos x="253" y="17"/>
              </a:cxn>
              <a:cxn ang="0">
                <a:pos x="249" y="18"/>
              </a:cxn>
              <a:cxn ang="0">
                <a:pos x="239" y="19"/>
              </a:cxn>
              <a:cxn ang="0">
                <a:pos x="228" y="19"/>
              </a:cxn>
              <a:cxn ang="0">
                <a:pos x="205" y="19"/>
              </a:cxn>
              <a:cxn ang="0">
                <a:pos x="192" y="18"/>
              </a:cxn>
              <a:cxn ang="0">
                <a:pos x="181" y="17"/>
              </a:cxn>
              <a:cxn ang="0">
                <a:pos x="172" y="15"/>
              </a:cxn>
              <a:cxn ang="0">
                <a:pos x="163" y="12"/>
              </a:cxn>
              <a:cxn ang="0">
                <a:pos x="156" y="9"/>
              </a:cxn>
              <a:cxn ang="0">
                <a:pos x="146" y="6"/>
              </a:cxn>
              <a:cxn ang="0">
                <a:pos x="134" y="3"/>
              </a:cxn>
              <a:cxn ang="0">
                <a:pos x="118" y="1"/>
              </a:cxn>
              <a:cxn ang="0">
                <a:pos x="99" y="0"/>
              </a:cxn>
              <a:cxn ang="0">
                <a:pos x="83" y="0"/>
              </a:cxn>
              <a:cxn ang="0">
                <a:pos x="67" y="0"/>
              </a:cxn>
              <a:cxn ang="0">
                <a:pos x="50" y="0"/>
              </a:cxn>
              <a:cxn ang="0">
                <a:pos x="34" y="2"/>
              </a:cxn>
              <a:cxn ang="0">
                <a:pos x="27" y="4"/>
              </a:cxn>
              <a:cxn ang="0">
                <a:pos x="21" y="6"/>
              </a:cxn>
              <a:cxn ang="0">
                <a:pos x="14" y="9"/>
              </a:cxn>
              <a:cxn ang="0">
                <a:pos x="10" y="13"/>
              </a:cxn>
              <a:cxn ang="0">
                <a:pos x="5" y="17"/>
              </a:cxn>
              <a:cxn ang="0">
                <a:pos x="2" y="22"/>
              </a:cxn>
              <a:cxn ang="0">
                <a:pos x="0" y="29"/>
              </a:cxn>
              <a:cxn ang="0">
                <a:pos x="0" y="36"/>
              </a:cxn>
              <a:cxn ang="0">
                <a:pos x="0" y="48"/>
              </a:cxn>
              <a:cxn ang="0">
                <a:pos x="3" y="58"/>
              </a:cxn>
              <a:cxn ang="0">
                <a:pos x="6" y="65"/>
              </a:cxn>
              <a:cxn ang="0">
                <a:pos x="12" y="71"/>
              </a:cxn>
              <a:cxn ang="0">
                <a:pos x="17" y="76"/>
              </a:cxn>
              <a:cxn ang="0">
                <a:pos x="24" y="80"/>
              </a:cxn>
              <a:cxn ang="0">
                <a:pos x="31" y="83"/>
              </a:cxn>
              <a:cxn ang="0">
                <a:pos x="37" y="85"/>
              </a:cxn>
              <a:cxn ang="0">
                <a:pos x="50" y="88"/>
              </a:cxn>
              <a:cxn ang="0">
                <a:pos x="61" y="92"/>
              </a:cxn>
              <a:cxn ang="0">
                <a:pos x="65" y="95"/>
              </a:cxn>
              <a:cxn ang="0">
                <a:pos x="67" y="99"/>
              </a:cxn>
              <a:cxn ang="0">
                <a:pos x="67" y="105"/>
              </a:cxn>
              <a:cxn ang="0">
                <a:pos x="66" y="111"/>
              </a:cxn>
              <a:cxn ang="0">
                <a:pos x="81" y="110"/>
              </a:cxn>
              <a:cxn ang="0">
                <a:pos x="91" y="108"/>
              </a:cxn>
              <a:cxn ang="0">
                <a:pos x="98" y="106"/>
              </a:cxn>
              <a:cxn ang="0">
                <a:pos x="105" y="105"/>
              </a:cxn>
              <a:cxn ang="0">
                <a:pos x="120" y="106"/>
              </a:cxn>
              <a:cxn ang="0">
                <a:pos x="140" y="108"/>
              </a:cxn>
              <a:cxn ang="0">
                <a:pos x="166" y="112"/>
              </a:cxn>
              <a:cxn ang="0">
                <a:pos x="192" y="117"/>
              </a:cxn>
              <a:cxn ang="0">
                <a:pos x="238" y="125"/>
              </a:cxn>
              <a:cxn ang="0">
                <a:pos x="259" y="129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4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880233" y="2450656"/>
            <a:ext cx="179387" cy="142875"/>
          </a:xfrm>
          <a:custGeom>
            <a:avLst/>
            <a:gdLst/>
            <a:ahLst/>
            <a:cxnLst>
              <a:cxn ang="0">
                <a:pos x="418" y="170"/>
              </a:cxn>
              <a:cxn ang="0">
                <a:pos x="398" y="188"/>
              </a:cxn>
              <a:cxn ang="0">
                <a:pos x="383" y="206"/>
              </a:cxn>
              <a:cxn ang="0">
                <a:pos x="384" y="221"/>
              </a:cxn>
              <a:cxn ang="0">
                <a:pos x="389" y="237"/>
              </a:cxn>
              <a:cxn ang="0">
                <a:pos x="375" y="244"/>
              </a:cxn>
              <a:cxn ang="0">
                <a:pos x="347" y="238"/>
              </a:cxn>
              <a:cxn ang="0">
                <a:pos x="324" y="235"/>
              </a:cxn>
              <a:cxn ang="0">
                <a:pos x="295" y="235"/>
              </a:cxn>
              <a:cxn ang="0">
                <a:pos x="263" y="243"/>
              </a:cxn>
              <a:cxn ang="0">
                <a:pos x="232" y="254"/>
              </a:cxn>
              <a:cxn ang="0">
                <a:pos x="197" y="267"/>
              </a:cxn>
              <a:cxn ang="0">
                <a:pos x="100" y="240"/>
              </a:cxn>
              <a:cxn ang="0">
                <a:pos x="85" y="226"/>
              </a:cxn>
              <a:cxn ang="0">
                <a:pos x="70" y="214"/>
              </a:cxn>
              <a:cxn ang="0">
                <a:pos x="37" y="192"/>
              </a:cxn>
              <a:cxn ang="0">
                <a:pos x="22" y="180"/>
              </a:cxn>
              <a:cxn ang="0">
                <a:pos x="11" y="167"/>
              </a:cxn>
              <a:cxn ang="0">
                <a:pos x="2" y="150"/>
              </a:cxn>
              <a:cxn ang="0">
                <a:pos x="0" y="129"/>
              </a:cxn>
              <a:cxn ang="0">
                <a:pos x="50" y="66"/>
              </a:cxn>
              <a:cxn ang="0">
                <a:pos x="71" y="36"/>
              </a:cxn>
              <a:cxn ang="0">
                <a:pos x="80" y="22"/>
              </a:cxn>
              <a:cxn ang="0">
                <a:pos x="85" y="6"/>
              </a:cxn>
              <a:cxn ang="0">
                <a:pos x="123" y="10"/>
              </a:cxn>
              <a:cxn ang="0">
                <a:pos x="153" y="18"/>
              </a:cxn>
              <a:cxn ang="0">
                <a:pos x="180" y="27"/>
              </a:cxn>
              <a:cxn ang="0">
                <a:pos x="205" y="31"/>
              </a:cxn>
              <a:cxn ang="0">
                <a:pos x="214" y="29"/>
              </a:cxn>
              <a:cxn ang="0">
                <a:pos x="221" y="26"/>
              </a:cxn>
              <a:cxn ang="0">
                <a:pos x="232" y="15"/>
              </a:cxn>
              <a:cxn ang="0">
                <a:pos x="242" y="5"/>
              </a:cxn>
              <a:cxn ang="0">
                <a:pos x="250" y="2"/>
              </a:cxn>
              <a:cxn ang="0">
                <a:pos x="259" y="0"/>
              </a:cxn>
              <a:cxn ang="0">
                <a:pos x="275" y="2"/>
              </a:cxn>
              <a:cxn ang="0">
                <a:pos x="289" y="7"/>
              </a:cxn>
              <a:cxn ang="0">
                <a:pos x="302" y="15"/>
              </a:cxn>
              <a:cxn ang="0">
                <a:pos x="310" y="26"/>
              </a:cxn>
              <a:cxn ang="0">
                <a:pos x="325" y="53"/>
              </a:cxn>
              <a:cxn ang="0">
                <a:pos x="337" y="82"/>
              </a:cxn>
              <a:cxn ang="0">
                <a:pos x="349" y="113"/>
              </a:cxn>
              <a:cxn ang="0">
                <a:pos x="356" y="126"/>
              </a:cxn>
              <a:cxn ang="0">
                <a:pos x="365" y="138"/>
              </a:cxn>
              <a:cxn ang="0">
                <a:pos x="376" y="147"/>
              </a:cxn>
              <a:cxn ang="0">
                <a:pos x="389" y="156"/>
              </a:cxn>
              <a:cxn ang="0">
                <a:pos x="405" y="160"/>
              </a:cxn>
              <a:cxn ang="0">
                <a:pos x="425" y="161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5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879979" y="3488881"/>
            <a:ext cx="14287" cy="55563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0" y="19"/>
              </a:cxn>
              <a:cxn ang="0">
                <a:pos x="5" y="21"/>
              </a:cxn>
              <a:cxn ang="0">
                <a:pos x="14" y="25"/>
              </a:cxn>
              <a:cxn ang="0">
                <a:pos x="19" y="27"/>
              </a:cxn>
              <a:cxn ang="0">
                <a:pos x="23" y="29"/>
              </a:cxn>
              <a:cxn ang="0">
                <a:pos x="27" y="30"/>
              </a:cxn>
              <a:cxn ang="0">
                <a:pos x="33" y="31"/>
              </a:cxn>
              <a:cxn ang="0">
                <a:pos x="33" y="0"/>
              </a:cxn>
              <a:cxn ang="0">
                <a:pos x="20" y="0"/>
              </a:cxn>
              <a:cxn ang="0">
                <a:pos x="13" y="6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6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985014" y="2442719"/>
            <a:ext cx="85725" cy="79375"/>
          </a:xfrm>
          <a:custGeom>
            <a:avLst/>
            <a:gdLst/>
            <a:ahLst/>
            <a:cxnLst>
              <a:cxn ang="0">
                <a:pos x="6" y="19"/>
              </a:cxn>
              <a:cxn ang="0">
                <a:pos x="52" y="0"/>
              </a:cxn>
              <a:cxn ang="0">
                <a:pos x="92" y="19"/>
              </a:cxn>
              <a:cxn ang="0">
                <a:pos x="119" y="31"/>
              </a:cxn>
              <a:cxn ang="0">
                <a:pos x="146" y="63"/>
              </a:cxn>
              <a:cxn ang="0">
                <a:pos x="166" y="93"/>
              </a:cxn>
              <a:cxn ang="0">
                <a:pos x="192" y="118"/>
              </a:cxn>
              <a:cxn ang="0">
                <a:pos x="152" y="124"/>
              </a:cxn>
              <a:cxn ang="0">
                <a:pos x="126" y="130"/>
              </a:cxn>
              <a:cxn ang="0">
                <a:pos x="126" y="154"/>
              </a:cxn>
              <a:cxn ang="0">
                <a:pos x="106" y="154"/>
              </a:cxn>
              <a:cxn ang="0">
                <a:pos x="99" y="146"/>
              </a:cxn>
              <a:cxn ang="0">
                <a:pos x="93" y="137"/>
              </a:cxn>
              <a:cxn ang="0">
                <a:pos x="88" y="126"/>
              </a:cxn>
              <a:cxn ang="0">
                <a:pos x="82" y="115"/>
              </a:cxn>
              <a:cxn ang="0">
                <a:pos x="74" y="93"/>
              </a:cxn>
              <a:cxn ang="0">
                <a:pos x="65" y="71"/>
              </a:cxn>
              <a:cxn ang="0">
                <a:pos x="60" y="61"/>
              </a:cxn>
              <a:cxn ang="0">
                <a:pos x="55" y="50"/>
              </a:cxn>
              <a:cxn ang="0">
                <a:pos x="48" y="42"/>
              </a:cxn>
              <a:cxn ang="0">
                <a:pos x="41" y="34"/>
              </a:cxn>
              <a:cxn ang="0">
                <a:pos x="33" y="28"/>
              </a:cxn>
              <a:cxn ang="0">
                <a:pos x="24" y="23"/>
              </a:cxn>
              <a:cxn ang="0">
                <a:pos x="18" y="22"/>
              </a:cxn>
              <a:cxn ang="0">
                <a:pos x="12" y="20"/>
              </a:cxn>
              <a:cxn ang="0">
                <a:pos x="6" y="20"/>
              </a:cxn>
              <a:cxn ang="0">
                <a:pos x="0" y="19"/>
              </a:cxn>
              <a:cxn ang="0">
                <a:pos x="6" y="19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7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902449" y="2325217"/>
            <a:ext cx="381000" cy="247651"/>
          </a:xfrm>
          <a:custGeom>
            <a:avLst/>
            <a:gdLst/>
            <a:ahLst/>
            <a:cxnLst>
              <a:cxn ang="0">
                <a:pos x="392" y="340"/>
              </a:cxn>
              <a:cxn ang="0">
                <a:pos x="319" y="253"/>
              </a:cxn>
              <a:cxn ang="0">
                <a:pos x="206" y="241"/>
              </a:cxn>
              <a:cxn ang="0">
                <a:pos x="191" y="243"/>
              </a:cxn>
              <a:cxn ang="0">
                <a:pos x="178" y="251"/>
              </a:cxn>
              <a:cxn ang="0">
                <a:pos x="162" y="267"/>
              </a:cxn>
              <a:cxn ang="0">
                <a:pos x="151" y="271"/>
              </a:cxn>
              <a:cxn ang="0">
                <a:pos x="121" y="268"/>
              </a:cxn>
              <a:cxn ang="0">
                <a:pos x="79" y="255"/>
              </a:cxn>
              <a:cxn ang="0">
                <a:pos x="26" y="247"/>
              </a:cxn>
              <a:cxn ang="0">
                <a:pos x="8" y="212"/>
              </a:cxn>
              <a:cxn ang="0">
                <a:pos x="13" y="187"/>
              </a:cxn>
              <a:cxn ang="0">
                <a:pos x="13" y="180"/>
              </a:cxn>
              <a:cxn ang="0">
                <a:pos x="23" y="144"/>
              </a:cxn>
              <a:cxn ang="0">
                <a:pos x="44" y="112"/>
              </a:cxn>
              <a:cxn ang="0">
                <a:pos x="54" y="92"/>
              </a:cxn>
              <a:cxn ang="0">
                <a:pos x="26" y="50"/>
              </a:cxn>
              <a:cxn ang="0">
                <a:pos x="173" y="26"/>
              </a:cxn>
              <a:cxn ang="0">
                <a:pos x="339" y="50"/>
              </a:cxn>
              <a:cxn ang="0">
                <a:pos x="392" y="13"/>
              </a:cxn>
              <a:cxn ang="0">
                <a:pos x="485" y="0"/>
              </a:cxn>
              <a:cxn ang="0">
                <a:pos x="579" y="38"/>
              </a:cxn>
              <a:cxn ang="0">
                <a:pos x="638" y="111"/>
              </a:cxn>
              <a:cxn ang="0">
                <a:pos x="725" y="111"/>
              </a:cxn>
              <a:cxn ang="0">
                <a:pos x="838" y="155"/>
              </a:cxn>
              <a:cxn ang="0">
                <a:pos x="864" y="235"/>
              </a:cxn>
              <a:cxn ang="0">
                <a:pos x="804" y="272"/>
              </a:cxn>
              <a:cxn ang="0">
                <a:pos x="754" y="313"/>
              </a:cxn>
              <a:cxn ang="0">
                <a:pos x="688" y="330"/>
              </a:cxn>
              <a:cxn ang="0">
                <a:pos x="663" y="343"/>
              </a:cxn>
              <a:cxn ang="0">
                <a:pos x="648" y="358"/>
              </a:cxn>
              <a:cxn ang="0">
                <a:pos x="646" y="375"/>
              </a:cxn>
              <a:cxn ang="0">
                <a:pos x="653" y="390"/>
              </a:cxn>
              <a:cxn ang="0">
                <a:pos x="666" y="401"/>
              </a:cxn>
              <a:cxn ang="0">
                <a:pos x="711" y="396"/>
              </a:cxn>
              <a:cxn ang="0">
                <a:pos x="741" y="394"/>
              </a:cxn>
              <a:cxn ang="0">
                <a:pos x="734" y="403"/>
              </a:cxn>
              <a:cxn ang="0">
                <a:pos x="716" y="421"/>
              </a:cxn>
              <a:cxn ang="0">
                <a:pos x="698" y="438"/>
              </a:cxn>
              <a:cxn ang="0">
                <a:pos x="689" y="419"/>
              </a:cxn>
              <a:cxn ang="0">
                <a:pos x="671" y="408"/>
              </a:cxn>
              <a:cxn ang="0">
                <a:pos x="666" y="423"/>
              </a:cxn>
              <a:cxn ang="0">
                <a:pos x="643" y="442"/>
              </a:cxn>
              <a:cxn ang="0">
                <a:pos x="619" y="460"/>
              </a:cxn>
              <a:cxn ang="0">
                <a:pos x="611" y="469"/>
              </a:cxn>
              <a:cxn ang="0">
                <a:pos x="595" y="464"/>
              </a:cxn>
              <a:cxn ang="0">
                <a:pos x="584" y="455"/>
              </a:cxn>
              <a:cxn ang="0">
                <a:pos x="575" y="439"/>
              </a:cxn>
              <a:cxn ang="0">
                <a:pos x="572" y="408"/>
              </a:cxn>
              <a:cxn ang="0">
                <a:pos x="548" y="404"/>
              </a:cxn>
              <a:cxn ang="0">
                <a:pos x="518" y="389"/>
              </a:cxn>
              <a:cxn ang="0">
                <a:pos x="559" y="379"/>
              </a:cxn>
              <a:cxn ang="0">
                <a:pos x="625" y="370"/>
              </a:cxn>
              <a:cxn ang="0">
                <a:pos x="493" y="354"/>
              </a:cxn>
              <a:cxn ang="0">
                <a:pos x="445" y="333"/>
              </a:cxn>
              <a:cxn ang="0">
                <a:pos x="398" y="369"/>
              </a:cxn>
              <a:cxn ang="0">
                <a:pos x="380" y="395"/>
              </a:cxn>
              <a:cxn ang="0">
                <a:pos x="353" y="400"/>
              </a:cxn>
              <a:cxn ang="0">
                <a:pos x="328" y="392"/>
              </a:cxn>
              <a:cxn ang="0">
                <a:pos x="306" y="376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8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413630" y="2668118"/>
            <a:ext cx="47625" cy="63500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81" y="31"/>
              </a:cxn>
              <a:cxn ang="0">
                <a:pos x="94" y="67"/>
              </a:cxn>
              <a:cxn ang="0">
                <a:pos x="107" y="86"/>
              </a:cxn>
              <a:cxn ang="0">
                <a:pos x="107" y="117"/>
              </a:cxn>
              <a:cxn ang="0">
                <a:pos x="107" y="123"/>
              </a:cxn>
              <a:cxn ang="0">
                <a:pos x="88" y="114"/>
              </a:cxn>
              <a:cxn ang="0">
                <a:pos x="73" y="105"/>
              </a:cxn>
              <a:cxn ang="0">
                <a:pos x="61" y="98"/>
              </a:cxn>
              <a:cxn ang="0">
                <a:pos x="54" y="92"/>
              </a:cxn>
              <a:cxn ang="0">
                <a:pos x="51" y="83"/>
              </a:cxn>
              <a:cxn ang="0">
                <a:pos x="48" y="73"/>
              </a:cxn>
              <a:cxn ang="0">
                <a:pos x="39" y="74"/>
              </a:cxn>
              <a:cxn ang="0">
                <a:pos x="32" y="73"/>
              </a:cxn>
              <a:cxn ang="0">
                <a:pos x="26" y="72"/>
              </a:cxn>
              <a:cxn ang="0">
                <a:pos x="21" y="70"/>
              </a:cxn>
              <a:cxn ang="0">
                <a:pos x="17" y="67"/>
              </a:cxn>
              <a:cxn ang="0">
                <a:pos x="14" y="63"/>
              </a:cxn>
              <a:cxn ang="0">
                <a:pos x="11" y="59"/>
              </a:cxn>
              <a:cxn ang="0">
                <a:pos x="9" y="54"/>
              </a:cxn>
              <a:cxn ang="0">
                <a:pos x="4" y="31"/>
              </a:cxn>
              <a:cxn ang="0">
                <a:pos x="0" y="6"/>
              </a:cxn>
              <a:cxn ang="0">
                <a:pos x="34" y="0"/>
              </a:cxn>
              <a:cxn ang="0">
                <a:pos x="48" y="0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9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956549" y="2682405"/>
            <a:ext cx="207962" cy="122239"/>
          </a:xfrm>
          <a:custGeom>
            <a:avLst/>
            <a:gdLst/>
            <a:ahLst/>
            <a:cxnLst>
              <a:cxn ang="0">
                <a:pos x="106" y="67"/>
              </a:cxn>
              <a:cxn ang="0">
                <a:pos x="166" y="86"/>
              </a:cxn>
              <a:cxn ang="0">
                <a:pos x="272" y="105"/>
              </a:cxn>
              <a:cxn ang="0">
                <a:pos x="372" y="86"/>
              </a:cxn>
              <a:cxn ang="0">
                <a:pos x="383" y="95"/>
              </a:cxn>
              <a:cxn ang="0">
                <a:pos x="391" y="114"/>
              </a:cxn>
              <a:cxn ang="0">
                <a:pos x="406" y="124"/>
              </a:cxn>
              <a:cxn ang="0">
                <a:pos x="424" y="129"/>
              </a:cxn>
              <a:cxn ang="0">
                <a:pos x="433" y="134"/>
              </a:cxn>
              <a:cxn ang="0">
                <a:pos x="441" y="141"/>
              </a:cxn>
              <a:cxn ang="0">
                <a:pos x="448" y="151"/>
              </a:cxn>
              <a:cxn ang="0">
                <a:pos x="455" y="170"/>
              </a:cxn>
              <a:cxn ang="0">
                <a:pos x="471" y="190"/>
              </a:cxn>
              <a:cxn ang="0">
                <a:pos x="350" y="202"/>
              </a:cxn>
              <a:cxn ang="0">
                <a:pos x="330" y="224"/>
              </a:cxn>
              <a:cxn ang="0">
                <a:pos x="317" y="233"/>
              </a:cxn>
              <a:cxn ang="0">
                <a:pos x="306" y="233"/>
              </a:cxn>
              <a:cxn ang="0">
                <a:pos x="298" y="230"/>
              </a:cxn>
              <a:cxn ang="0">
                <a:pos x="292" y="224"/>
              </a:cxn>
              <a:cxn ang="0">
                <a:pos x="289" y="216"/>
              </a:cxn>
              <a:cxn ang="0">
                <a:pos x="284" y="199"/>
              </a:cxn>
              <a:cxn ang="0">
                <a:pos x="278" y="174"/>
              </a:cxn>
              <a:cxn ang="0">
                <a:pos x="269" y="155"/>
              </a:cxn>
              <a:cxn ang="0">
                <a:pos x="258" y="148"/>
              </a:cxn>
              <a:cxn ang="0">
                <a:pos x="246" y="141"/>
              </a:cxn>
              <a:cxn ang="0">
                <a:pos x="236" y="133"/>
              </a:cxn>
              <a:cxn ang="0">
                <a:pos x="224" y="140"/>
              </a:cxn>
              <a:cxn ang="0">
                <a:pos x="207" y="162"/>
              </a:cxn>
              <a:cxn ang="0">
                <a:pos x="200" y="177"/>
              </a:cxn>
              <a:cxn ang="0">
                <a:pos x="188" y="190"/>
              </a:cxn>
              <a:cxn ang="0">
                <a:pos x="167" y="201"/>
              </a:cxn>
              <a:cxn ang="0">
                <a:pos x="147" y="213"/>
              </a:cxn>
              <a:cxn ang="0">
                <a:pos x="130" y="219"/>
              </a:cxn>
              <a:cxn ang="0">
                <a:pos x="114" y="222"/>
              </a:cxn>
              <a:cxn ang="0">
                <a:pos x="97" y="221"/>
              </a:cxn>
              <a:cxn ang="0">
                <a:pos x="82" y="217"/>
              </a:cxn>
              <a:cxn ang="0">
                <a:pos x="63" y="205"/>
              </a:cxn>
              <a:cxn ang="0">
                <a:pos x="59" y="197"/>
              </a:cxn>
              <a:cxn ang="0">
                <a:pos x="59" y="135"/>
              </a:cxn>
              <a:cxn ang="0">
                <a:pos x="0" y="98"/>
              </a:cxn>
              <a:cxn ang="0">
                <a:pos x="53" y="80"/>
              </a:cxn>
              <a:cxn ang="0">
                <a:pos x="86" y="30"/>
              </a:cxn>
              <a:cxn ang="0">
                <a:pos x="133" y="0"/>
              </a:cxn>
              <a:cxn ang="0">
                <a:pos x="166" y="42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0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6005770" y="2610967"/>
            <a:ext cx="225425" cy="125412"/>
          </a:xfrm>
          <a:custGeom>
            <a:avLst/>
            <a:gdLst/>
            <a:ahLst/>
            <a:cxnLst>
              <a:cxn ang="0">
                <a:pos x="106" y="185"/>
              </a:cxn>
              <a:cxn ang="0">
                <a:pos x="173" y="148"/>
              </a:cxn>
              <a:cxn ang="0">
                <a:pos x="93" y="105"/>
              </a:cxn>
              <a:cxn ang="0">
                <a:pos x="47" y="117"/>
              </a:cxn>
              <a:cxn ang="0">
                <a:pos x="66" y="61"/>
              </a:cxn>
              <a:cxn ang="0">
                <a:pos x="40" y="43"/>
              </a:cxn>
              <a:cxn ang="0">
                <a:pos x="112" y="25"/>
              </a:cxn>
              <a:cxn ang="0">
                <a:pos x="186" y="0"/>
              </a:cxn>
              <a:cxn ang="0">
                <a:pos x="312" y="19"/>
              </a:cxn>
              <a:cxn ang="0">
                <a:pos x="439" y="25"/>
              </a:cxn>
              <a:cxn ang="0">
                <a:pos x="525" y="55"/>
              </a:cxn>
              <a:cxn ang="0">
                <a:pos x="519" y="69"/>
              </a:cxn>
              <a:cxn ang="0">
                <a:pos x="510" y="82"/>
              </a:cxn>
              <a:cxn ang="0">
                <a:pos x="499" y="92"/>
              </a:cxn>
              <a:cxn ang="0">
                <a:pos x="485" y="99"/>
              </a:cxn>
              <a:cxn ang="0">
                <a:pos x="442" y="103"/>
              </a:cxn>
              <a:cxn ang="0">
                <a:pos x="418" y="107"/>
              </a:cxn>
              <a:cxn ang="0">
                <a:pos x="407" y="111"/>
              </a:cxn>
              <a:cxn ang="0">
                <a:pos x="399" y="117"/>
              </a:cxn>
              <a:cxn ang="0">
                <a:pos x="387" y="136"/>
              </a:cxn>
              <a:cxn ang="0">
                <a:pos x="378" y="147"/>
              </a:cxn>
              <a:cxn ang="0">
                <a:pos x="365" y="154"/>
              </a:cxn>
              <a:cxn ang="0">
                <a:pos x="305" y="166"/>
              </a:cxn>
              <a:cxn ang="0">
                <a:pos x="273" y="173"/>
              </a:cxn>
              <a:cxn ang="0">
                <a:pos x="260" y="178"/>
              </a:cxn>
              <a:cxn ang="0">
                <a:pos x="261" y="192"/>
              </a:cxn>
              <a:cxn ang="0">
                <a:pos x="263" y="203"/>
              </a:cxn>
              <a:cxn ang="0">
                <a:pos x="273" y="222"/>
              </a:cxn>
              <a:cxn ang="0">
                <a:pos x="219" y="228"/>
              </a:cxn>
              <a:cxn ang="0">
                <a:pos x="112" y="234"/>
              </a:cxn>
              <a:cxn ang="0">
                <a:pos x="20" y="222"/>
              </a:cxn>
              <a:cxn ang="0">
                <a:pos x="53" y="166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1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612064" y="2626843"/>
            <a:ext cx="342900" cy="227012"/>
          </a:xfrm>
          <a:custGeom>
            <a:avLst/>
            <a:gdLst/>
            <a:ahLst/>
            <a:cxnLst>
              <a:cxn ang="0">
                <a:pos x="768" y="292"/>
              </a:cxn>
              <a:cxn ang="0">
                <a:pos x="751" y="293"/>
              </a:cxn>
              <a:cxn ang="0">
                <a:pos x="731" y="302"/>
              </a:cxn>
              <a:cxn ang="0">
                <a:pos x="723" y="308"/>
              </a:cxn>
              <a:cxn ang="0">
                <a:pos x="717" y="332"/>
              </a:cxn>
              <a:cxn ang="0">
                <a:pos x="713" y="360"/>
              </a:cxn>
              <a:cxn ang="0">
                <a:pos x="704" y="376"/>
              </a:cxn>
              <a:cxn ang="0">
                <a:pos x="671" y="402"/>
              </a:cxn>
              <a:cxn ang="0">
                <a:pos x="633" y="420"/>
              </a:cxn>
              <a:cxn ang="0">
                <a:pos x="612" y="424"/>
              </a:cxn>
              <a:cxn ang="0">
                <a:pos x="587" y="429"/>
              </a:cxn>
              <a:cxn ang="0">
                <a:pos x="567" y="428"/>
              </a:cxn>
              <a:cxn ang="0">
                <a:pos x="545" y="388"/>
              </a:cxn>
              <a:cxn ang="0">
                <a:pos x="515" y="344"/>
              </a:cxn>
              <a:cxn ang="0">
                <a:pos x="478" y="334"/>
              </a:cxn>
              <a:cxn ang="0">
                <a:pos x="448" y="315"/>
              </a:cxn>
              <a:cxn ang="0">
                <a:pos x="417" y="294"/>
              </a:cxn>
              <a:cxn ang="0">
                <a:pos x="373" y="274"/>
              </a:cxn>
              <a:cxn ang="0">
                <a:pos x="306" y="258"/>
              </a:cxn>
              <a:cxn ang="0">
                <a:pos x="182" y="283"/>
              </a:cxn>
              <a:cxn ang="0">
                <a:pos x="151" y="306"/>
              </a:cxn>
              <a:cxn ang="0">
                <a:pos x="127" y="308"/>
              </a:cxn>
              <a:cxn ang="0">
                <a:pos x="66" y="252"/>
              </a:cxn>
              <a:cxn ang="0">
                <a:pos x="66" y="204"/>
              </a:cxn>
              <a:cxn ang="0">
                <a:pos x="40" y="179"/>
              </a:cxn>
              <a:cxn ang="0">
                <a:pos x="42" y="199"/>
              </a:cxn>
              <a:cxn ang="0">
                <a:pos x="36" y="218"/>
              </a:cxn>
              <a:cxn ang="0">
                <a:pos x="30" y="221"/>
              </a:cxn>
              <a:cxn ang="0">
                <a:pos x="31" y="203"/>
              </a:cxn>
              <a:cxn ang="0">
                <a:pos x="27" y="174"/>
              </a:cxn>
              <a:cxn ang="0">
                <a:pos x="33" y="163"/>
              </a:cxn>
              <a:cxn ang="0">
                <a:pos x="40" y="152"/>
              </a:cxn>
              <a:cxn ang="0">
                <a:pos x="27" y="129"/>
              </a:cxn>
              <a:cxn ang="0">
                <a:pos x="7" y="126"/>
              </a:cxn>
              <a:cxn ang="0">
                <a:pos x="0" y="117"/>
              </a:cxn>
              <a:cxn ang="0">
                <a:pos x="3" y="104"/>
              </a:cxn>
              <a:cxn ang="0">
                <a:pos x="11" y="94"/>
              </a:cxn>
              <a:cxn ang="0">
                <a:pos x="27" y="92"/>
              </a:cxn>
              <a:cxn ang="0">
                <a:pos x="41" y="99"/>
              </a:cxn>
              <a:cxn ang="0">
                <a:pos x="57" y="104"/>
              </a:cxn>
              <a:cxn ang="0">
                <a:pos x="71" y="92"/>
              </a:cxn>
              <a:cxn ang="0">
                <a:pos x="83" y="77"/>
              </a:cxn>
              <a:cxn ang="0">
                <a:pos x="87" y="64"/>
              </a:cxn>
              <a:cxn ang="0">
                <a:pos x="78" y="55"/>
              </a:cxn>
              <a:cxn ang="0">
                <a:pos x="55" y="49"/>
              </a:cxn>
              <a:cxn ang="0">
                <a:pos x="47" y="40"/>
              </a:cxn>
              <a:cxn ang="0">
                <a:pos x="41" y="28"/>
              </a:cxn>
              <a:cxn ang="0">
                <a:pos x="107" y="43"/>
              </a:cxn>
              <a:cxn ang="0">
                <a:pos x="219" y="74"/>
              </a:cxn>
              <a:cxn ang="0">
                <a:pos x="273" y="0"/>
              </a:cxn>
              <a:cxn ang="0">
                <a:pos x="373" y="43"/>
              </a:cxn>
              <a:cxn ang="0">
                <a:pos x="465" y="92"/>
              </a:cxn>
              <a:cxn ang="0">
                <a:pos x="591" y="210"/>
              </a:cxn>
              <a:cxn ang="0">
                <a:pos x="724" y="265"/>
              </a:cxn>
              <a:cxn ang="0">
                <a:pos x="778" y="295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2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859586" y="2596706"/>
            <a:ext cx="107950" cy="149225"/>
          </a:xfrm>
          <a:custGeom>
            <a:avLst/>
            <a:gdLst/>
            <a:ahLst/>
            <a:cxnLst>
              <a:cxn ang="0">
                <a:pos x="30" y="27"/>
              </a:cxn>
              <a:cxn ang="0">
                <a:pos x="28" y="24"/>
              </a:cxn>
              <a:cxn ang="0">
                <a:pos x="24" y="17"/>
              </a:cxn>
              <a:cxn ang="0">
                <a:pos x="35" y="5"/>
              </a:cxn>
              <a:cxn ang="0">
                <a:pos x="67" y="1"/>
              </a:cxn>
              <a:cxn ang="0">
                <a:pos x="126" y="12"/>
              </a:cxn>
              <a:cxn ang="0">
                <a:pos x="131" y="30"/>
              </a:cxn>
              <a:cxn ang="0">
                <a:pos x="139" y="46"/>
              </a:cxn>
              <a:cxn ang="0">
                <a:pos x="151" y="57"/>
              </a:cxn>
              <a:cxn ang="0">
                <a:pos x="165" y="67"/>
              </a:cxn>
              <a:cxn ang="0">
                <a:pos x="191" y="87"/>
              </a:cxn>
              <a:cxn ang="0">
                <a:pos x="203" y="101"/>
              </a:cxn>
              <a:cxn ang="0">
                <a:pos x="212" y="117"/>
              </a:cxn>
              <a:cxn ang="0">
                <a:pos x="226" y="117"/>
              </a:cxn>
              <a:cxn ang="0">
                <a:pos x="221" y="124"/>
              </a:cxn>
              <a:cxn ang="0">
                <a:pos x="221" y="129"/>
              </a:cxn>
              <a:cxn ang="0">
                <a:pos x="228" y="140"/>
              </a:cxn>
              <a:cxn ang="0">
                <a:pos x="239" y="154"/>
              </a:cxn>
              <a:cxn ang="0">
                <a:pos x="244" y="162"/>
              </a:cxn>
              <a:cxn ang="0">
                <a:pos x="246" y="173"/>
              </a:cxn>
              <a:cxn ang="0">
                <a:pos x="241" y="184"/>
              </a:cxn>
              <a:cxn ang="0">
                <a:pos x="233" y="192"/>
              </a:cxn>
              <a:cxn ang="0">
                <a:pos x="223" y="198"/>
              </a:cxn>
              <a:cxn ang="0">
                <a:pos x="220" y="204"/>
              </a:cxn>
              <a:cxn ang="0">
                <a:pos x="189" y="215"/>
              </a:cxn>
              <a:cxn ang="0">
                <a:pos x="164" y="230"/>
              </a:cxn>
              <a:cxn ang="0">
                <a:pos x="113" y="265"/>
              </a:cxn>
              <a:cxn ang="0">
                <a:pos x="88" y="231"/>
              </a:cxn>
              <a:cxn ang="0">
                <a:pos x="79" y="220"/>
              </a:cxn>
              <a:cxn ang="0">
                <a:pos x="72" y="216"/>
              </a:cxn>
              <a:cxn ang="0">
                <a:pos x="60" y="217"/>
              </a:cxn>
              <a:cxn ang="0">
                <a:pos x="54" y="221"/>
              </a:cxn>
              <a:cxn ang="0">
                <a:pos x="49" y="228"/>
              </a:cxn>
              <a:cxn ang="0">
                <a:pos x="48" y="236"/>
              </a:cxn>
              <a:cxn ang="0">
                <a:pos x="45" y="257"/>
              </a:cxn>
              <a:cxn ang="0">
                <a:pos x="41" y="270"/>
              </a:cxn>
              <a:cxn ang="0">
                <a:pos x="33" y="284"/>
              </a:cxn>
              <a:cxn ang="0">
                <a:pos x="26" y="243"/>
              </a:cxn>
              <a:cxn ang="0">
                <a:pos x="17" y="227"/>
              </a:cxn>
              <a:cxn ang="0">
                <a:pos x="11" y="221"/>
              </a:cxn>
              <a:cxn ang="0">
                <a:pos x="0" y="216"/>
              </a:cxn>
              <a:cxn ang="0">
                <a:pos x="1" y="204"/>
              </a:cxn>
              <a:cxn ang="0">
                <a:pos x="4" y="193"/>
              </a:cxn>
              <a:cxn ang="0">
                <a:pos x="15" y="176"/>
              </a:cxn>
              <a:cxn ang="0">
                <a:pos x="31" y="161"/>
              </a:cxn>
              <a:cxn ang="0">
                <a:pos x="46" y="141"/>
              </a:cxn>
              <a:cxn ang="0">
                <a:pos x="33" y="44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3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869118" y="2622106"/>
            <a:ext cx="68263" cy="6032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9"/>
              </a:cxn>
              <a:cxn ang="0">
                <a:pos x="114" y="18"/>
              </a:cxn>
              <a:cxn ang="0">
                <a:pos x="115" y="25"/>
              </a:cxn>
              <a:cxn ang="0">
                <a:pos x="117" y="32"/>
              </a:cxn>
              <a:cxn ang="0">
                <a:pos x="119" y="34"/>
              </a:cxn>
              <a:cxn ang="0">
                <a:pos x="121" y="37"/>
              </a:cxn>
              <a:cxn ang="0">
                <a:pos x="123" y="38"/>
              </a:cxn>
              <a:cxn ang="0">
                <a:pos x="127" y="39"/>
              </a:cxn>
              <a:cxn ang="0">
                <a:pos x="131" y="40"/>
              </a:cxn>
              <a:cxn ang="0">
                <a:pos x="135" y="39"/>
              </a:cxn>
              <a:cxn ang="0">
                <a:pos x="140" y="38"/>
              </a:cxn>
              <a:cxn ang="0">
                <a:pos x="146" y="36"/>
              </a:cxn>
              <a:cxn ang="0">
                <a:pos x="149" y="43"/>
              </a:cxn>
              <a:cxn ang="0">
                <a:pos x="153" y="52"/>
              </a:cxn>
              <a:cxn ang="0">
                <a:pos x="157" y="64"/>
              </a:cxn>
              <a:cxn ang="0">
                <a:pos x="160" y="74"/>
              </a:cxn>
              <a:cxn ang="0">
                <a:pos x="133" y="88"/>
              </a:cxn>
              <a:cxn ang="0">
                <a:pos x="106" y="102"/>
              </a:cxn>
              <a:cxn ang="0">
                <a:pos x="92" y="107"/>
              </a:cxn>
              <a:cxn ang="0">
                <a:pos x="76" y="113"/>
              </a:cxn>
              <a:cxn ang="0">
                <a:pos x="62" y="116"/>
              </a:cxn>
              <a:cxn ang="0">
                <a:pos x="47" y="117"/>
              </a:cxn>
              <a:cxn ang="0">
                <a:pos x="32" y="99"/>
              </a:cxn>
              <a:cxn ang="0">
                <a:pos x="21" y="83"/>
              </a:cxn>
              <a:cxn ang="0">
                <a:pos x="10" y="69"/>
              </a:cxn>
              <a:cxn ang="0">
                <a:pos x="0" y="55"/>
              </a:cxn>
              <a:cxn ang="0">
                <a:pos x="13" y="48"/>
              </a:cxn>
              <a:cxn ang="0">
                <a:pos x="41" y="32"/>
              </a:cxn>
              <a:cxn ang="0">
                <a:pos x="60" y="23"/>
              </a:cxn>
              <a:cxn ang="0">
                <a:pos x="78" y="14"/>
              </a:cxn>
              <a:cxn ang="0">
                <a:pos x="97" y="6"/>
              </a:cxn>
              <a:cxn ang="0">
                <a:pos x="114" y="0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4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953249" y="3245993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5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437441" y="3585692"/>
            <a:ext cx="244475" cy="431800"/>
          </a:xfrm>
          <a:custGeom>
            <a:avLst/>
            <a:gdLst/>
            <a:ahLst/>
            <a:cxnLst>
              <a:cxn ang="0">
                <a:pos x="98" y="62"/>
              </a:cxn>
              <a:cxn ang="0">
                <a:pos x="112" y="56"/>
              </a:cxn>
              <a:cxn ang="0">
                <a:pos x="129" y="69"/>
              </a:cxn>
              <a:cxn ang="0">
                <a:pos x="149" y="85"/>
              </a:cxn>
              <a:cxn ang="0">
                <a:pos x="171" y="92"/>
              </a:cxn>
              <a:cxn ang="0">
                <a:pos x="215" y="88"/>
              </a:cxn>
              <a:cxn ang="0">
                <a:pos x="257" y="82"/>
              </a:cxn>
              <a:cxn ang="0">
                <a:pos x="291" y="79"/>
              </a:cxn>
              <a:cxn ang="0">
                <a:pos x="301" y="74"/>
              </a:cxn>
              <a:cxn ang="0">
                <a:pos x="301" y="68"/>
              </a:cxn>
              <a:cxn ang="0">
                <a:pos x="355" y="63"/>
              </a:cxn>
              <a:cxn ang="0">
                <a:pos x="434" y="45"/>
              </a:cxn>
              <a:cxn ang="0">
                <a:pos x="479" y="28"/>
              </a:cxn>
              <a:cxn ang="0">
                <a:pos x="514" y="8"/>
              </a:cxn>
              <a:cxn ang="0">
                <a:pos x="547" y="31"/>
              </a:cxn>
              <a:cxn ang="0">
                <a:pos x="555" y="57"/>
              </a:cxn>
              <a:cxn ang="0">
                <a:pos x="552" y="113"/>
              </a:cxn>
              <a:cxn ang="0">
                <a:pos x="532" y="174"/>
              </a:cxn>
              <a:cxn ang="0">
                <a:pos x="502" y="231"/>
              </a:cxn>
              <a:cxn ang="0">
                <a:pos x="447" y="321"/>
              </a:cxn>
              <a:cxn ang="0">
                <a:pos x="423" y="375"/>
              </a:cxn>
              <a:cxn ang="0">
                <a:pos x="410" y="415"/>
              </a:cxn>
              <a:cxn ang="0">
                <a:pos x="379" y="473"/>
              </a:cxn>
              <a:cxn ang="0">
                <a:pos x="330" y="531"/>
              </a:cxn>
              <a:cxn ang="0">
                <a:pos x="288" y="566"/>
              </a:cxn>
              <a:cxn ang="0">
                <a:pos x="239" y="600"/>
              </a:cxn>
              <a:cxn ang="0">
                <a:pos x="168" y="651"/>
              </a:cxn>
              <a:cxn ang="0">
                <a:pos x="143" y="680"/>
              </a:cxn>
              <a:cxn ang="0">
                <a:pos x="131" y="700"/>
              </a:cxn>
              <a:cxn ang="0">
                <a:pos x="116" y="717"/>
              </a:cxn>
              <a:cxn ang="0">
                <a:pos x="71" y="745"/>
              </a:cxn>
              <a:cxn ang="0">
                <a:pos x="19" y="801"/>
              </a:cxn>
              <a:cxn ang="0">
                <a:pos x="2" y="564"/>
              </a:cxn>
              <a:cxn ang="0">
                <a:pos x="3" y="554"/>
              </a:cxn>
              <a:cxn ang="0">
                <a:pos x="27" y="533"/>
              </a:cxn>
              <a:cxn ang="0">
                <a:pos x="42" y="516"/>
              </a:cxn>
              <a:cxn ang="0">
                <a:pos x="60" y="497"/>
              </a:cxn>
              <a:cxn ang="0">
                <a:pos x="111" y="480"/>
              </a:cxn>
              <a:cxn ang="0">
                <a:pos x="119" y="470"/>
              </a:cxn>
              <a:cxn ang="0">
                <a:pos x="129" y="452"/>
              </a:cxn>
              <a:cxn ang="0">
                <a:pos x="152" y="440"/>
              </a:cxn>
              <a:cxn ang="0">
                <a:pos x="174" y="439"/>
              </a:cxn>
              <a:cxn ang="0">
                <a:pos x="196" y="439"/>
              </a:cxn>
              <a:cxn ang="0">
                <a:pos x="228" y="429"/>
              </a:cxn>
              <a:cxn ang="0">
                <a:pos x="251" y="405"/>
              </a:cxn>
              <a:cxn ang="0">
                <a:pos x="265" y="379"/>
              </a:cxn>
              <a:cxn ang="0">
                <a:pos x="296" y="347"/>
              </a:cxn>
              <a:cxn ang="0">
                <a:pos x="354" y="293"/>
              </a:cxn>
              <a:cxn ang="0">
                <a:pos x="377" y="266"/>
              </a:cxn>
              <a:cxn ang="0">
                <a:pos x="324" y="246"/>
              </a:cxn>
              <a:cxn ang="0">
                <a:pos x="257" y="228"/>
              </a:cxn>
              <a:cxn ang="0">
                <a:pos x="184" y="209"/>
              </a:cxn>
              <a:cxn ang="0">
                <a:pos x="149" y="187"/>
              </a:cxn>
              <a:cxn ang="0">
                <a:pos x="112" y="154"/>
              </a:cxn>
              <a:cxn ang="0">
                <a:pos x="89" y="121"/>
              </a:cxn>
              <a:cxn ang="0">
                <a:pos x="77" y="80"/>
              </a:cxn>
              <a:cxn ang="0">
                <a:pos x="65" y="87"/>
              </a:cxn>
              <a:cxn ang="0">
                <a:pos x="84" y="68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6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445376" y="3573020"/>
            <a:ext cx="38100" cy="58737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6" y="2"/>
              </a:cxn>
              <a:cxn ang="0">
                <a:pos x="52" y="3"/>
              </a:cxn>
              <a:cxn ang="0">
                <a:pos x="46" y="3"/>
              </a:cxn>
              <a:cxn ang="0">
                <a:pos x="40" y="3"/>
              </a:cxn>
              <a:cxn ang="0">
                <a:pos x="33" y="3"/>
              </a:cxn>
              <a:cxn ang="0">
                <a:pos x="27" y="3"/>
              </a:cxn>
              <a:cxn ang="0">
                <a:pos x="23" y="4"/>
              </a:cxn>
              <a:cxn ang="0">
                <a:pos x="20" y="6"/>
              </a:cxn>
              <a:cxn ang="0">
                <a:pos x="16" y="9"/>
              </a:cxn>
              <a:cxn ang="0">
                <a:pos x="13" y="12"/>
              </a:cxn>
              <a:cxn ang="0">
                <a:pos x="11" y="15"/>
              </a:cxn>
              <a:cxn ang="0">
                <a:pos x="8" y="20"/>
              </a:cxn>
              <a:cxn ang="0">
                <a:pos x="4" y="29"/>
              </a:cxn>
              <a:cxn ang="0">
                <a:pos x="2" y="38"/>
              </a:cxn>
              <a:cxn ang="0">
                <a:pos x="0" y="57"/>
              </a:cxn>
              <a:cxn ang="0">
                <a:pos x="0" y="75"/>
              </a:cxn>
              <a:cxn ang="0">
                <a:pos x="0" y="81"/>
              </a:cxn>
              <a:cxn ang="0">
                <a:pos x="1" y="86"/>
              </a:cxn>
              <a:cxn ang="0">
                <a:pos x="3" y="90"/>
              </a:cxn>
              <a:cxn ang="0">
                <a:pos x="7" y="93"/>
              </a:cxn>
              <a:cxn ang="0">
                <a:pos x="10" y="95"/>
              </a:cxn>
              <a:cxn ang="0">
                <a:pos x="13" y="96"/>
              </a:cxn>
              <a:cxn ang="0">
                <a:pos x="18" y="97"/>
              </a:cxn>
              <a:cxn ang="0">
                <a:pos x="21" y="97"/>
              </a:cxn>
              <a:cxn ang="0">
                <a:pos x="40" y="95"/>
              </a:cxn>
              <a:cxn ang="0">
                <a:pos x="53" y="93"/>
              </a:cxn>
              <a:cxn ang="0">
                <a:pos x="86" y="68"/>
              </a:cxn>
              <a:cxn ang="0">
                <a:pos x="59" y="0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7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243765" y="3484119"/>
            <a:ext cx="363538" cy="376237"/>
          </a:xfrm>
          <a:custGeom>
            <a:avLst/>
            <a:gdLst/>
            <a:ahLst/>
            <a:cxnLst>
              <a:cxn ang="0">
                <a:pos x="182" y="36"/>
              </a:cxn>
              <a:cxn ang="0">
                <a:pos x="205" y="28"/>
              </a:cxn>
              <a:cxn ang="0">
                <a:pos x="247" y="0"/>
              </a:cxn>
              <a:cxn ang="0">
                <a:pos x="273" y="12"/>
              </a:cxn>
              <a:cxn ang="0">
                <a:pos x="327" y="37"/>
              </a:cxn>
              <a:cxn ang="0">
                <a:pos x="380" y="67"/>
              </a:cxn>
              <a:cxn ang="0">
                <a:pos x="426" y="98"/>
              </a:cxn>
              <a:cxn ang="0">
                <a:pos x="442" y="125"/>
              </a:cxn>
              <a:cxn ang="0">
                <a:pos x="443" y="140"/>
              </a:cxn>
              <a:cxn ang="0">
                <a:pos x="458" y="147"/>
              </a:cxn>
              <a:cxn ang="0">
                <a:pos x="499" y="178"/>
              </a:cxn>
              <a:cxn ang="0">
                <a:pos x="506" y="172"/>
              </a:cxn>
              <a:cxn ang="0">
                <a:pos x="488" y="184"/>
              </a:cxn>
              <a:cxn ang="0">
                <a:pos x="481" y="202"/>
              </a:cxn>
              <a:cxn ang="0">
                <a:pos x="481" y="252"/>
              </a:cxn>
              <a:cxn ang="0">
                <a:pos x="493" y="264"/>
              </a:cxn>
              <a:cxn ang="0">
                <a:pos x="526" y="265"/>
              </a:cxn>
              <a:cxn ang="0">
                <a:pos x="545" y="319"/>
              </a:cxn>
              <a:cxn ang="0">
                <a:pos x="583" y="361"/>
              </a:cxn>
              <a:cxn ang="0">
                <a:pos x="645" y="400"/>
              </a:cxn>
              <a:cxn ang="0">
                <a:pos x="738" y="430"/>
              </a:cxn>
              <a:cxn ang="0">
                <a:pos x="845" y="449"/>
              </a:cxn>
              <a:cxn ang="0">
                <a:pos x="811" y="482"/>
              </a:cxn>
              <a:cxn ang="0">
                <a:pos x="731" y="547"/>
              </a:cxn>
              <a:cxn ang="0">
                <a:pos x="712" y="579"/>
              </a:cxn>
              <a:cxn ang="0">
                <a:pos x="697" y="617"/>
              </a:cxn>
              <a:cxn ang="0">
                <a:pos x="674" y="629"/>
              </a:cxn>
              <a:cxn ang="0">
                <a:pos x="580" y="655"/>
              </a:cxn>
              <a:cxn ang="0">
                <a:pos x="559" y="671"/>
              </a:cxn>
              <a:cxn ang="0">
                <a:pos x="525" y="681"/>
              </a:cxn>
              <a:cxn ang="0">
                <a:pos x="482" y="693"/>
              </a:cxn>
              <a:cxn ang="0">
                <a:pos x="461" y="680"/>
              </a:cxn>
              <a:cxn ang="0">
                <a:pos x="427" y="679"/>
              </a:cxn>
              <a:cxn ang="0">
                <a:pos x="405" y="699"/>
              </a:cxn>
              <a:cxn ang="0">
                <a:pos x="390" y="714"/>
              </a:cxn>
              <a:cxn ang="0">
                <a:pos x="360" y="720"/>
              </a:cxn>
              <a:cxn ang="0">
                <a:pos x="318" y="714"/>
              </a:cxn>
              <a:cxn ang="0">
                <a:pos x="289" y="698"/>
              </a:cxn>
              <a:cxn ang="0">
                <a:pos x="246" y="671"/>
              </a:cxn>
              <a:cxn ang="0">
                <a:pos x="181" y="661"/>
              </a:cxn>
              <a:cxn ang="0">
                <a:pos x="140" y="653"/>
              </a:cxn>
              <a:cxn ang="0">
                <a:pos x="151" y="614"/>
              </a:cxn>
              <a:cxn ang="0">
                <a:pos x="127" y="596"/>
              </a:cxn>
              <a:cxn ang="0">
                <a:pos x="108" y="583"/>
              </a:cxn>
              <a:cxn ang="0">
                <a:pos x="93" y="551"/>
              </a:cxn>
              <a:cxn ang="0">
                <a:pos x="77" y="511"/>
              </a:cxn>
              <a:cxn ang="0">
                <a:pos x="49" y="489"/>
              </a:cxn>
              <a:cxn ang="0">
                <a:pos x="16" y="477"/>
              </a:cxn>
              <a:cxn ang="0">
                <a:pos x="5" y="472"/>
              </a:cxn>
              <a:cxn ang="0">
                <a:pos x="2" y="448"/>
              </a:cxn>
              <a:cxn ang="0">
                <a:pos x="21" y="422"/>
              </a:cxn>
              <a:cxn ang="0">
                <a:pos x="55" y="413"/>
              </a:cxn>
              <a:cxn ang="0">
                <a:pos x="67" y="321"/>
              </a:cxn>
              <a:cxn ang="0">
                <a:pos x="82" y="275"/>
              </a:cxn>
              <a:cxn ang="0">
                <a:pos x="95" y="260"/>
              </a:cxn>
              <a:cxn ang="0">
                <a:pos x="103" y="236"/>
              </a:cxn>
              <a:cxn ang="0">
                <a:pos x="116" y="206"/>
              </a:cxn>
              <a:cxn ang="0">
                <a:pos x="148" y="178"/>
              </a:cxn>
              <a:cxn ang="0">
                <a:pos x="167" y="160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8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2103693" y="4003204"/>
            <a:ext cx="4763" cy="7939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9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2103686" y="4011145"/>
            <a:ext cx="12700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"/>
              </a:cxn>
              <a:cxn ang="0">
                <a:pos x="15" y="3"/>
              </a:cxn>
              <a:cxn ang="0">
                <a:pos x="23" y="5"/>
              </a:cxn>
              <a:cxn ang="0">
                <a:pos x="33" y="6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0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2111629" y="3998442"/>
            <a:ext cx="4762" cy="57151"/>
          </a:xfrm>
          <a:custGeom>
            <a:avLst/>
            <a:gdLst/>
            <a:ahLst/>
            <a:cxnLst>
              <a:cxn ang="0">
                <a:pos x="13" y="30"/>
              </a:cxn>
              <a:cxn ang="0">
                <a:pos x="13" y="0"/>
              </a:cxn>
              <a:cxn ang="0">
                <a:pos x="0" y="0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61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2103693" y="3933368"/>
            <a:ext cx="417513" cy="201613"/>
            <a:chOff x="912" y="2626"/>
            <a:chExt cx="311" cy="127"/>
          </a:xfrm>
        </p:grpSpPr>
        <p:sp>
          <p:nvSpPr>
            <p:cNvPr id="362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/>
              <a:ahLst/>
              <a:cxnLst>
                <a:cxn ang="0">
                  <a:pos x="312" y="79"/>
                </a:cxn>
                <a:cxn ang="0">
                  <a:pos x="286" y="79"/>
                </a:cxn>
                <a:cxn ang="0">
                  <a:pos x="265" y="79"/>
                </a:cxn>
                <a:cxn ang="0">
                  <a:pos x="249" y="74"/>
                </a:cxn>
                <a:cxn ang="0">
                  <a:pos x="222" y="59"/>
                </a:cxn>
                <a:cxn ang="0">
                  <a:pos x="168" y="20"/>
                </a:cxn>
                <a:cxn ang="0">
                  <a:pos x="137" y="6"/>
                </a:cxn>
                <a:cxn ang="0">
                  <a:pos x="129" y="19"/>
                </a:cxn>
                <a:cxn ang="0">
                  <a:pos x="119" y="29"/>
                </a:cxn>
                <a:cxn ang="0">
                  <a:pos x="107" y="35"/>
                </a:cxn>
                <a:cxn ang="0">
                  <a:pos x="86" y="56"/>
                </a:cxn>
                <a:cxn ang="0">
                  <a:pos x="53" y="97"/>
                </a:cxn>
                <a:cxn ang="0">
                  <a:pos x="30" y="131"/>
                </a:cxn>
                <a:cxn ang="0">
                  <a:pos x="17" y="154"/>
                </a:cxn>
                <a:cxn ang="0">
                  <a:pos x="7" y="177"/>
                </a:cxn>
                <a:cxn ang="0">
                  <a:pos x="0" y="198"/>
                </a:cxn>
                <a:cxn ang="0">
                  <a:pos x="0" y="213"/>
                </a:cxn>
                <a:cxn ang="0">
                  <a:pos x="3" y="222"/>
                </a:cxn>
                <a:cxn ang="0">
                  <a:pos x="9" y="231"/>
                </a:cxn>
                <a:cxn ang="0">
                  <a:pos x="24" y="241"/>
                </a:cxn>
                <a:cxn ang="0">
                  <a:pos x="39" y="245"/>
                </a:cxn>
                <a:cxn ang="0">
                  <a:pos x="52" y="245"/>
                </a:cxn>
                <a:cxn ang="0">
                  <a:pos x="63" y="241"/>
                </a:cxn>
                <a:cxn ang="0">
                  <a:pos x="73" y="236"/>
                </a:cxn>
                <a:cxn ang="0">
                  <a:pos x="78" y="236"/>
                </a:cxn>
                <a:cxn ang="0">
                  <a:pos x="80" y="238"/>
                </a:cxn>
                <a:cxn ang="0">
                  <a:pos x="80" y="257"/>
                </a:cxn>
                <a:cxn ang="0">
                  <a:pos x="76" y="279"/>
                </a:cxn>
                <a:cxn ang="0">
                  <a:pos x="71" y="290"/>
                </a:cxn>
                <a:cxn ang="0">
                  <a:pos x="73" y="307"/>
                </a:cxn>
                <a:cxn ang="0">
                  <a:pos x="80" y="331"/>
                </a:cxn>
                <a:cxn ang="0">
                  <a:pos x="89" y="351"/>
                </a:cxn>
                <a:cxn ang="0">
                  <a:pos x="122" y="373"/>
                </a:cxn>
                <a:cxn ang="0">
                  <a:pos x="142" y="385"/>
                </a:cxn>
                <a:cxn ang="0">
                  <a:pos x="152" y="386"/>
                </a:cxn>
                <a:cxn ang="0">
                  <a:pos x="163" y="377"/>
                </a:cxn>
                <a:cxn ang="0">
                  <a:pos x="173" y="363"/>
                </a:cxn>
                <a:cxn ang="0">
                  <a:pos x="178" y="350"/>
                </a:cxn>
                <a:cxn ang="0">
                  <a:pos x="181" y="338"/>
                </a:cxn>
                <a:cxn ang="0">
                  <a:pos x="184" y="323"/>
                </a:cxn>
                <a:cxn ang="0">
                  <a:pos x="195" y="304"/>
                </a:cxn>
                <a:cxn ang="0">
                  <a:pos x="216" y="281"/>
                </a:cxn>
                <a:cxn ang="0">
                  <a:pos x="238" y="263"/>
                </a:cxn>
                <a:cxn ang="0">
                  <a:pos x="264" y="249"/>
                </a:cxn>
                <a:cxn ang="0">
                  <a:pos x="300" y="229"/>
                </a:cxn>
                <a:cxn ang="0">
                  <a:pos x="324" y="212"/>
                </a:cxn>
                <a:cxn ang="0">
                  <a:pos x="338" y="199"/>
                </a:cxn>
                <a:cxn ang="0">
                  <a:pos x="346" y="185"/>
                </a:cxn>
                <a:cxn ang="0">
                  <a:pos x="352" y="169"/>
                </a:cxn>
                <a:cxn ang="0">
                  <a:pos x="351" y="149"/>
                </a:cxn>
                <a:cxn ang="0">
                  <a:pos x="344" y="125"/>
                </a:cxn>
                <a:cxn ang="0">
                  <a:pos x="330" y="91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3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0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45" y="17"/>
                </a:cxn>
                <a:cxn ang="0">
                  <a:pos x="47" y="21"/>
                </a:cxn>
                <a:cxn ang="0">
                  <a:pos x="48" y="24"/>
                </a:cxn>
                <a:cxn ang="0">
                  <a:pos x="51" y="34"/>
                </a:cxn>
                <a:cxn ang="0">
                  <a:pos x="52" y="41"/>
                </a:cxn>
                <a:cxn ang="0">
                  <a:pos x="51" y="46"/>
                </a:cxn>
                <a:cxn ang="0">
                  <a:pos x="49" y="50"/>
                </a:cxn>
                <a:cxn ang="0">
                  <a:pos x="47" y="54"/>
                </a:cxn>
                <a:cxn ang="0">
                  <a:pos x="44" y="60"/>
                </a:cxn>
                <a:cxn ang="0">
                  <a:pos x="41" y="65"/>
                </a:cxn>
                <a:cxn ang="0">
                  <a:pos x="41" y="73"/>
                </a:cxn>
                <a:cxn ang="0">
                  <a:pos x="29" y="75"/>
                </a:cxn>
                <a:cxn ang="0">
                  <a:pos x="16" y="78"/>
                </a:cxn>
                <a:cxn ang="0">
                  <a:pos x="11" y="78"/>
                </a:cxn>
                <a:cxn ang="0">
                  <a:pos x="5" y="78"/>
                </a:cxn>
                <a:cxn ang="0">
                  <a:pos x="4" y="78"/>
                </a:cxn>
                <a:cxn ang="0">
                  <a:pos x="2" y="77"/>
                </a:cxn>
                <a:cxn ang="0">
                  <a:pos x="2" y="75"/>
                </a:cxn>
                <a:cxn ang="0">
                  <a:pos x="1" y="73"/>
                </a:cxn>
                <a:cxn ang="0">
                  <a:pos x="0" y="69"/>
                </a:cxn>
                <a:cxn ang="0">
                  <a:pos x="1" y="64"/>
                </a:cxn>
                <a:cxn ang="0">
                  <a:pos x="3" y="60"/>
                </a:cxn>
                <a:cxn ang="0">
                  <a:pos x="7" y="56"/>
                </a:cxn>
                <a:cxn ang="0">
                  <a:pos x="17" y="47"/>
                </a:cxn>
                <a:cxn ang="0">
                  <a:pos x="28" y="42"/>
                </a:cxn>
                <a:cxn ang="0">
                  <a:pos x="24" y="32"/>
                </a:cxn>
                <a:cxn ang="0">
                  <a:pos x="21" y="21"/>
                </a:cxn>
                <a:cxn ang="0">
                  <a:pos x="18" y="10"/>
                </a:cxn>
                <a:cxn ang="0">
                  <a:pos x="14" y="0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4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24"/>
                </a:cxn>
                <a:cxn ang="0">
                  <a:pos x="7" y="25"/>
                </a:cxn>
                <a:cxn ang="0">
                  <a:pos x="15" y="27"/>
                </a:cxn>
                <a:cxn ang="0">
                  <a:pos x="23" y="29"/>
                </a:cxn>
                <a:cxn ang="0">
                  <a:pos x="33" y="30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6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751761" y="4650904"/>
            <a:ext cx="19050" cy="58739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5" y="0"/>
              </a:cxn>
              <a:cxn ang="0">
                <a:pos x="31" y="2"/>
              </a:cxn>
              <a:cxn ang="0">
                <a:pos x="33" y="4"/>
              </a:cxn>
              <a:cxn ang="0">
                <a:pos x="33" y="6"/>
              </a:cxn>
              <a:cxn ang="0">
                <a:pos x="32" y="8"/>
              </a:cxn>
              <a:cxn ang="0">
                <a:pos x="33" y="10"/>
              </a:cxn>
              <a:cxn ang="0">
                <a:pos x="37" y="12"/>
              </a:cxn>
              <a:cxn ang="0">
                <a:pos x="47" y="12"/>
              </a:cxn>
              <a:cxn ang="0">
                <a:pos x="42" y="19"/>
              </a:cxn>
              <a:cxn ang="0">
                <a:pos x="37" y="25"/>
              </a:cxn>
              <a:cxn ang="0">
                <a:pos x="33" y="27"/>
              </a:cxn>
              <a:cxn ang="0">
                <a:pos x="28" y="28"/>
              </a:cxn>
              <a:cxn ang="0">
                <a:pos x="16" y="27"/>
              </a:cxn>
              <a:cxn ang="0">
                <a:pos x="0" y="25"/>
              </a:cxn>
              <a:cxn ang="0">
                <a:pos x="1" y="19"/>
              </a:cxn>
              <a:cxn ang="0">
                <a:pos x="2" y="15"/>
              </a:cxn>
              <a:cxn ang="0">
                <a:pos x="4" y="13"/>
              </a:cxn>
              <a:cxn ang="0">
                <a:pos x="6" y="12"/>
              </a:cxn>
              <a:cxn ang="0">
                <a:pos x="9" y="11"/>
              </a:cxn>
              <a:cxn ang="0">
                <a:pos x="11" y="9"/>
              </a:cxn>
              <a:cxn ang="0">
                <a:pos x="13" y="5"/>
              </a:cxn>
              <a:cxn ang="0">
                <a:pos x="13" y="0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723201" y="4677893"/>
            <a:ext cx="23813" cy="57151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6" y="1"/>
              </a:cxn>
              <a:cxn ang="0">
                <a:pos x="34" y="1"/>
              </a:cxn>
              <a:cxn ang="0">
                <a:pos x="37" y="3"/>
              </a:cxn>
              <a:cxn ang="0">
                <a:pos x="37" y="4"/>
              </a:cxn>
              <a:cxn ang="0">
                <a:pos x="37" y="6"/>
              </a:cxn>
              <a:cxn ang="0">
                <a:pos x="39" y="8"/>
              </a:cxn>
              <a:cxn ang="0">
                <a:pos x="44" y="10"/>
              </a:cxn>
              <a:cxn ang="0">
                <a:pos x="53" y="12"/>
              </a:cxn>
              <a:cxn ang="0">
                <a:pos x="48" y="22"/>
              </a:cxn>
              <a:cxn ang="0">
                <a:pos x="44" y="28"/>
              </a:cxn>
              <a:cxn ang="0">
                <a:pos x="42" y="31"/>
              </a:cxn>
              <a:cxn ang="0">
                <a:pos x="38" y="32"/>
              </a:cxn>
              <a:cxn ang="0">
                <a:pos x="36" y="33"/>
              </a:cxn>
              <a:cxn ang="0">
                <a:pos x="34" y="33"/>
              </a:cxn>
              <a:cxn ang="0">
                <a:pos x="20" y="30"/>
              </a:cxn>
              <a:cxn ang="0">
                <a:pos x="0" y="24"/>
              </a:cxn>
              <a:cxn ang="0">
                <a:pos x="0" y="19"/>
              </a:cxn>
              <a:cxn ang="0">
                <a:pos x="2" y="16"/>
              </a:cxn>
              <a:cxn ang="0">
                <a:pos x="4" y="14"/>
              </a:cxn>
              <a:cxn ang="0">
                <a:pos x="7" y="12"/>
              </a:cxn>
              <a:cxn ang="0">
                <a:pos x="9" y="11"/>
              </a:cxn>
              <a:cxn ang="0">
                <a:pos x="11" y="9"/>
              </a:cxn>
              <a:cxn ang="0">
                <a:pos x="12" y="6"/>
              </a:cxn>
              <a:cxn ang="0">
                <a:pos x="13" y="0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6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564443" y="4169905"/>
            <a:ext cx="168275" cy="103187"/>
            <a:chOff x="3481" y="2773"/>
            <a:chExt cx="125" cy="65"/>
          </a:xfrm>
        </p:grpSpPr>
        <p:sp>
          <p:nvSpPr>
            <p:cNvPr id="368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9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0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0" y="0"/>
                </a:cxn>
                <a:cxn ang="0">
                  <a:pos x="14" y="19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1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2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0" y="9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3" y="3"/>
                </a:cxn>
                <a:cxn ang="0">
                  <a:pos x="8" y="1"/>
                </a:cxn>
                <a:cxn ang="0">
                  <a:pos x="13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3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4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5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4" y="6"/>
                </a:cxn>
                <a:cxn ang="0">
                  <a:pos x="0" y="0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6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  <a:cxn ang="0">
                  <a:pos x="17" y="12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7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0" y="6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8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9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692903" y="4161959"/>
            <a:ext cx="319087" cy="379413"/>
          </a:xfrm>
          <a:custGeom>
            <a:avLst/>
            <a:gdLst/>
            <a:ahLst/>
            <a:cxnLst>
              <a:cxn ang="0">
                <a:pos x="60" y="685"/>
              </a:cxn>
              <a:cxn ang="0">
                <a:pos x="91" y="668"/>
              </a:cxn>
              <a:cxn ang="0">
                <a:pos x="126" y="668"/>
              </a:cxn>
              <a:cxn ang="0">
                <a:pos x="196" y="692"/>
              </a:cxn>
              <a:cxn ang="0">
                <a:pos x="245" y="705"/>
              </a:cxn>
              <a:cxn ang="0">
                <a:pos x="292" y="703"/>
              </a:cxn>
              <a:cxn ang="0">
                <a:pos x="611" y="717"/>
              </a:cxn>
              <a:cxn ang="0">
                <a:pos x="651" y="707"/>
              </a:cxn>
              <a:cxn ang="0">
                <a:pos x="627" y="657"/>
              </a:cxn>
              <a:cxn ang="0">
                <a:pos x="664" y="433"/>
              </a:cxn>
              <a:cxn ang="0">
                <a:pos x="709" y="429"/>
              </a:cxn>
              <a:cxn ang="0">
                <a:pos x="723" y="416"/>
              </a:cxn>
              <a:cxn ang="0">
                <a:pos x="734" y="360"/>
              </a:cxn>
              <a:cxn ang="0">
                <a:pos x="722" y="302"/>
              </a:cxn>
              <a:cxn ang="0">
                <a:pos x="708" y="304"/>
              </a:cxn>
              <a:cxn ang="0">
                <a:pos x="676" y="300"/>
              </a:cxn>
              <a:cxn ang="0">
                <a:pos x="634" y="299"/>
              </a:cxn>
              <a:cxn ang="0">
                <a:pos x="623" y="290"/>
              </a:cxn>
              <a:cxn ang="0">
                <a:pos x="617" y="253"/>
              </a:cxn>
              <a:cxn ang="0">
                <a:pos x="607" y="219"/>
              </a:cxn>
              <a:cxn ang="0">
                <a:pos x="597" y="186"/>
              </a:cxn>
              <a:cxn ang="0">
                <a:pos x="607" y="167"/>
              </a:cxn>
              <a:cxn ang="0">
                <a:pos x="617" y="148"/>
              </a:cxn>
              <a:cxn ang="0">
                <a:pos x="611" y="100"/>
              </a:cxn>
              <a:cxn ang="0">
                <a:pos x="544" y="70"/>
              </a:cxn>
              <a:cxn ang="0">
                <a:pos x="477" y="66"/>
              </a:cxn>
              <a:cxn ang="0">
                <a:pos x="471" y="81"/>
              </a:cxn>
              <a:cxn ang="0">
                <a:pos x="463" y="101"/>
              </a:cxn>
              <a:cxn ang="0">
                <a:pos x="440" y="122"/>
              </a:cxn>
              <a:cxn ang="0">
                <a:pos x="392" y="130"/>
              </a:cxn>
              <a:cxn ang="0">
                <a:pos x="364" y="115"/>
              </a:cxn>
              <a:cxn ang="0">
                <a:pos x="339" y="82"/>
              </a:cxn>
              <a:cxn ang="0">
                <a:pos x="319" y="39"/>
              </a:cxn>
              <a:cxn ang="0">
                <a:pos x="312" y="0"/>
              </a:cxn>
              <a:cxn ang="0">
                <a:pos x="30" y="15"/>
              </a:cxn>
              <a:cxn ang="0">
                <a:pos x="47" y="29"/>
              </a:cxn>
              <a:cxn ang="0">
                <a:pos x="75" y="75"/>
              </a:cxn>
              <a:cxn ang="0">
                <a:pos x="102" y="130"/>
              </a:cxn>
              <a:cxn ang="0">
                <a:pos x="103" y="171"/>
              </a:cxn>
              <a:cxn ang="0">
                <a:pos x="93" y="203"/>
              </a:cxn>
              <a:cxn ang="0">
                <a:pos x="96" y="229"/>
              </a:cxn>
              <a:cxn ang="0">
                <a:pos x="119" y="272"/>
              </a:cxn>
              <a:cxn ang="0">
                <a:pos x="131" y="307"/>
              </a:cxn>
              <a:cxn ang="0">
                <a:pos x="127" y="352"/>
              </a:cxn>
              <a:cxn ang="0">
                <a:pos x="106" y="403"/>
              </a:cxn>
              <a:cxn ang="0">
                <a:pos x="77" y="446"/>
              </a:cxn>
              <a:cxn ang="0">
                <a:pos x="41" y="477"/>
              </a:cxn>
              <a:cxn ang="0">
                <a:pos x="25" y="591"/>
              </a:cxn>
              <a:cxn ang="0">
                <a:pos x="11" y="62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0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704013" y="4134976"/>
            <a:ext cx="15875" cy="6032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12" y="28"/>
              </a:cxn>
              <a:cxn ang="0">
                <a:pos x="22" y="28"/>
              </a:cxn>
              <a:cxn ang="0">
                <a:pos x="26" y="28"/>
              </a:cxn>
              <a:cxn ang="0">
                <a:pos x="30" y="28"/>
              </a:cxn>
              <a:cxn ang="0">
                <a:pos x="35" y="27"/>
              </a:cxn>
              <a:cxn ang="0">
                <a:pos x="39" y="25"/>
              </a:cxn>
              <a:cxn ang="0">
                <a:pos x="39" y="0"/>
              </a:cxn>
              <a:cxn ang="0">
                <a:pos x="26" y="0"/>
              </a:cxn>
              <a:cxn ang="0">
                <a:pos x="17" y="0"/>
              </a:cxn>
              <a:cxn ang="0">
                <a:pos x="8" y="0"/>
              </a:cxn>
              <a:cxn ang="0">
                <a:pos x="0" y="0"/>
              </a:cxn>
              <a:cxn ang="0">
                <a:pos x="0" y="31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1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805617" y="4677893"/>
            <a:ext cx="396875" cy="398463"/>
          </a:xfrm>
          <a:custGeom>
            <a:avLst/>
            <a:gdLst/>
            <a:ahLst/>
            <a:cxnLst>
              <a:cxn ang="0">
                <a:pos x="899" y="291"/>
              </a:cxn>
              <a:cxn ang="0">
                <a:pos x="863" y="388"/>
              </a:cxn>
              <a:cxn ang="0">
                <a:pos x="832" y="414"/>
              </a:cxn>
              <a:cxn ang="0">
                <a:pos x="761" y="507"/>
              </a:cxn>
              <a:cxn ang="0">
                <a:pos x="720" y="561"/>
              </a:cxn>
              <a:cxn ang="0">
                <a:pos x="647" y="613"/>
              </a:cxn>
              <a:cxn ang="0">
                <a:pos x="583" y="666"/>
              </a:cxn>
              <a:cxn ang="0">
                <a:pos x="557" y="698"/>
              </a:cxn>
              <a:cxn ang="0">
                <a:pos x="520" y="705"/>
              </a:cxn>
              <a:cxn ang="0">
                <a:pos x="496" y="710"/>
              </a:cxn>
              <a:cxn ang="0">
                <a:pos x="485" y="727"/>
              </a:cxn>
              <a:cxn ang="0">
                <a:pos x="372" y="727"/>
              </a:cxn>
              <a:cxn ang="0">
                <a:pos x="339" y="732"/>
              </a:cxn>
              <a:cxn ang="0">
                <a:pos x="316" y="732"/>
              </a:cxn>
              <a:cxn ang="0">
                <a:pos x="286" y="727"/>
              </a:cxn>
              <a:cxn ang="0">
                <a:pos x="263" y="737"/>
              </a:cxn>
              <a:cxn ang="0">
                <a:pos x="146" y="759"/>
              </a:cxn>
              <a:cxn ang="0">
                <a:pos x="116" y="753"/>
              </a:cxn>
              <a:cxn ang="0">
                <a:pos x="90" y="739"/>
              </a:cxn>
              <a:cxn ang="0">
                <a:pos x="76" y="719"/>
              </a:cxn>
              <a:cxn ang="0">
                <a:pos x="79" y="697"/>
              </a:cxn>
              <a:cxn ang="0">
                <a:pos x="75" y="628"/>
              </a:cxn>
              <a:cxn ang="0">
                <a:pos x="79" y="608"/>
              </a:cxn>
              <a:cxn ang="0">
                <a:pos x="68" y="572"/>
              </a:cxn>
              <a:cxn ang="0">
                <a:pos x="22" y="516"/>
              </a:cxn>
              <a:cxn ang="0">
                <a:pos x="12" y="484"/>
              </a:cxn>
              <a:cxn ang="0">
                <a:pos x="10" y="439"/>
              </a:cxn>
              <a:cxn ang="0">
                <a:pos x="0" y="377"/>
              </a:cxn>
              <a:cxn ang="0">
                <a:pos x="39" y="377"/>
              </a:cxn>
              <a:cxn ang="0">
                <a:pos x="57" y="396"/>
              </a:cxn>
              <a:cxn ang="0">
                <a:pos x="94" y="410"/>
              </a:cxn>
              <a:cxn ang="0">
                <a:pos x="135" y="411"/>
              </a:cxn>
              <a:cxn ang="0">
                <a:pos x="160" y="400"/>
              </a:cxn>
              <a:cxn ang="0">
                <a:pos x="182" y="372"/>
              </a:cxn>
              <a:cxn ang="0">
                <a:pos x="197" y="229"/>
              </a:cxn>
              <a:cxn ang="0">
                <a:pos x="204" y="184"/>
              </a:cxn>
              <a:cxn ang="0">
                <a:pos x="210" y="168"/>
              </a:cxn>
              <a:cxn ang="0">
                <a:pos x="239" y="178"/>
              </a:cxn>
              <a:cxn ang="0">
                <a:pos x="245" y="238"/>
              </a:cxn>
              <a:cxn ang="0">
                <a:pos x="247" y="274"/>
              </a:cxn>
              <a:cxn ang="0">
                <a:pos x="256" y="287"/>
              </a:cxn>
              <a:cxn ang="0">
                <a:pos x="287" y="295"/>
              </a:cxn>
              <a:cxn ang="0">
                <a:pos x="312" y="293"/>
              </a:cxn>
              <a:cxn ang="0">
                <a:pos x="333" y="272"/>
              </a:cxn>
              <a:cxn ang="0">
                <a:pos x="350" y="234"/>
              </a:cxn>
              <a:cxn ang="0">
                <a:pos x="368" y="201"/>
              </a:cxn>
              <a:cxn ang="0">
                <a:pos x="387" y="191"/>
              </a:cxn>
              <a:cxn ang="0">
                <a:pos x="414" y="193"/>
              </a:cxn>
              <a:cxn ang="0">
                <a:pos x="451" y="208"/>
              </a:cxn>
              <a:cxn ang="0">
                <a:pos x="478" y="216"/>
              </a:cxn>
              <a:cxn ang="0">
                <a:pos x="512" y="213"/>
              </a:cxn>
              <a:cxn ang="0">
                <a:pos x="531" y="200"/>
              </a:cxn>
              <a:cxn ang="0">
                <a:pos x="564" y="127"/>
              </a:cxn>
              <a:cxn ang="0">
                <a:pos x="620" y="80"/>
              </a:cxn>
              <a:cxn ang="0">
                <a:pos x="732" y="11"/>
              </a:cxn>
              <a:cxn ang="0">
                <a:pos x="806" y="3"/>
              </a:cxn>
              <a:cxn ang="0">
                <a:pos x="830" y="6"/>
              </a:cxn>
              <a:cxn ang="0">
                <a:pos x="854" y="35"/>
              </a:cxn>
              <a:cxn ang="0">
                <a:pos x="873" y="71"/>
              </a:cxn>
              <a:cxn ang="0">
                <a:pos x="883" y="107"/>
              </a:cxn>
              <a:cxn ang="0">
                <a:pos x="868" y="207"/>
              </a:cxn>
              <a:cxn ang="0">
                <a:pos x="830" y="204"/>
              </a:cxn>
              <a:cxn ang="0">
                <a:pos x="826" y="281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ysClr val="window" lastClr="FFFFFF">
              <a:lumMod val="75000"/>
            </a:sys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kern="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2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953249" y="3245993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8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737225" y="3447579"/>
            <a:ext cx="80962" cy="82551"/>
            <a:chOff x="2352" y="2343"/>
            <a:chExt cx="65" cy="53"/>
          </a:xfrm>
        </p:grpSpPr>
        <p:sp>
          <p:nvSpPr>
            <p:cNvPr id="38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5"/>
                </a:cxn>
                <a:cxn ang="0">
                  <a:pos x="4" y="28"/>
                </a:cxn>
                <a:cxn ang="0">
                  <a:pos x="10" y="33"/>
                </a:cxn>
                <a:cxn ang="0">
                  <a:pos x="35" y="25"/>
                </a:cxn>
                <a:cxn ang="0">
                  <a:pos x="48" y="15"/>
                </a:cxn>
                <a:cxn ang="0">
                  <a:pos x="51" y="8"/>
                </a:cxn>
                <a:cxn ang="0">
                  <a:pos x="46" y="0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/>
              <a:ahLst/>
              <a:cxnLst>
                <a:cxn ang="0">
                  <a:pos x="61" y="6"/>
                </a:cxn>
                <a:cxn ang="0">
                  <a:pos x="53" y="2"/>
                </a:cxn>
                <a:cxn ang="0">
                  <a:pos x="0" y="0"/>
                </a:cxn>
                <a:cxn ang="0">
                  <a:pos x="2" y="14"/>
                </a:cxn>
                <a:cxn ang="0">
                  <a:pos x="7" y="20"/>
                </a:cxn>
                <a:cxn ang="0">
                  <a:pos x="18" y="13"/>
                </a:cxn>
                <a:cxn ang="0">
                  <a:pos x="61" y="6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0"/>
                </a:cxn>
                <a:cxn ang="0">
                  <a:pos x="0" y="36"/>
                </a:cxn>
                <a:cxn ang="0">
                  <a:pos x="11" y="35"/>
                </a:cxn>
                <a:cxn ang="0">
                  <a:pos x="15" y="14"/>
                </a:cxn>
                <a:cxn ang="0">
                  <a:pos x="2" y="0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2" y="0"/>
                </a:cxn>
                <a:cxn ang="0">
                  <a:pos x="35" y="6"/>
                </a:cxn>
                <a:cxn ang="0">
                  <a:pos x="37" y="22"/>
                </a:cxn>
                <a:cxn ang="0">
                  <a:pos x="24" y="33"/>
                </a:cxn>
                <a:cxn ang="0">
                  <a:pos x="11" y="33"/>
                </a:cxn>
                <a:cxn ang="0">
                  <a:pos x="2" y="24"/>
                </a:cxn>
                <a:cxn ang="0">
                  <a:pos x="0" y="16"/>
                </a:cxn>
                <a:cxn ang="0">
                  <a:pos x="4" y="4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50"/>
                </a:cxn>
                <a:cxn ang="0">
                  <a:pos x="18" y="54"/>
                </a:cxn>
                <a:cxn ang="0">
                  <a:pos x="44" y="45"/>
                </a:cxn>
                <a:cxn ang="0">
                  <a:pos x="49" y="31"/>
                </a:cxn>
                <a:cxn ang="0">
                  <a:pos x="40" y="21"/>
                </a:cxn>
                <a:cxn ang="0">
                  <a:pos x="19" y="8"/>
                </a:cxn>
                <a:cxn ang="0">
                  <a:pos x="2" y="0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2"/>
                </a:cxn>
                <a:cxn ang="0">
                  <a:pos x="0" y="15"/>
                </a:cxn>
                <a:cxn ang="0">
                  <a:pos x="6" y="21"/>
                </a:cxn>
                <a:cxn ang="0">
                  <a:pos x="19" y="22"/>
                </a:cxn>
                <a:cxn ang="0">
                  <a:pos x="26" y="11"/>
                </a:cxn>
                <a:cxn ang="0">
                  <a:pos x="18" y="0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90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582995" y="1507665"/>
            <a:ext cx="1897063" cy="1133475"/>
            <a:chOff x="527" y="1110"/>
            <a:chExt cx="1410" cy="709"/>
          </a:xfrm>
          <a:solidFill>
            <a:sysClr val="window" lastClr="FFFFFF">
              <a:lumMod val="75000"/>
            </a:sysClr>
          </a:solidFill>
        </p:grpSpPr>
        <p:sp>
          <p:nvSpPr>
            <p:cNvPr id="391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46"/>
                </a:cxn>
                <a:cxn ang="0">
                  <a:pos x="13" y="50"/>
                </a:cxn>
                <a:cxn ang="0">
                  <a:pos x="23" y="53"/>
                </a:cxn>
                <a:cxn ang="0">
                  <a:pos x="32" y="54"/>
                </a:cxn>
                <a:cxn ang="0">
                  <a:pos x="38" y="54"/>
                </a:cxn>
                <a:cxn ang="0">
                  <a:pos x="45" y="53"/>
                </a:cxn>
                <a:cxn ang="0">
                  <a:pos x="50" y="51"/>
                </a:cxn>
                <a:cxn ang="0">
                  <a:pos x="56" y="49"/>
                </a:cxn>
                <a:cxn ang="0">
                  <a:pos x="67" y="42"/>
                </a:cxn>
                <a:cxn ang="0">
                  <a:pos x="75" y="35"/>
                </a:cxn>
                <a:cxn ang="0">
                  <a:pos x="84" y="28"/>
                </a:cxn>
                <a:cxn ang="0">
                  <a:pos x="91" y="20"/>
                </a:cxn>
                <a:cxn ang="0">
                  <a:pos x="95" y="12"/>
                </a:cxn>
                <a:cxn ang="0">
                  <a:pos x="98" y="4"/>
                </a:cxn>
                <a:cxn ang="0">
                  <a:pos x="91" y="2"/>
                </a:cxn>
                <a:cxn ang="0">
                  <a:pos x="83" y="0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59" y="1"/>
                </a:cxn>
                <a:cxn ang="0">
                  <a:pos x="51" y="3"/>
                </a:cxn>
                <a:cxn ang="0">
                  <a:pos x="43" y="6"/>
                </a:cxn>
                <a:cxn ang="0">
                  <a:pos x="37" y="9"/>
                </a:cxn>
                <a:cxn ang="0">
                  <a:pos x="23" y="17"/>
                </a:cxn>
                <a:cxn ang="0">
                  <a:pos x="12" y="25"/>
                </a:cxn>
                <a:cxn ang="0">
                  <a:pos x="7" y="29"/>
                </a:cxn>
                <a:cxn ang="0">
                  <a:pos x="4" y="33"/>
                </a:cxn>
                <a:cxn ang="0">
                  <a:pos x="1" y="37"/>
                </a:cxn>
                <a:cxn ang="0">
                  <a:pos x="0" y="41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2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8"/>
                </a:cxn>
                <a:cxn ang="0">
                  <a:pos x="21" y="27"/>
                </a:cxn>
                <a:cxn ang="0">
                  <a:pos x="31" y="25"/>
                </a:cxn>
                <a:cxn ang="0">
                  <a:pos x="41" y="21"/>
                </a:cxn>
                <a:cxn ang="0">
                  <a:pos x="49" y="17"/>
                </a:cxn>
                <a:cxn ang="0">
                  <a:pos x="57" y="12"/>
                </a:cxn>
                <a:cxn ang="0">
                  <a:pos x="63" y="7"/>
                </a:cxn>
                <a:cxn ang="0">
                  <a:pos x="67" y="3"/>
                </a:cxn>
                <a:cxn ang="0">
                  <a:pos x="57" y="1"/>
                </a:cxn>
                <a:cxn ang="0">
                  <a:pos x="46" y="0"/>
                </a:cxn>
                <a:cxn ang="0">
                  <a:pos x="36" y="1"/>
                </a:cxn>
                <a:cxn ang="0">
                  <a:pos x="26" y="3"/>
                </a:cxn>
                <a:cxn ang="0">
                  <a:pos x="17" y="7"/>
                </a:cxn>
                <a:cxn ang="0">
                  <a:pos x="10" y="12"/>
                </a:cxn>
                <a:cxn ang="0">
                  <a:pos x="7" y="15"/>
                </a:cxn>
                <a:cxn ang="0">
                  <a:pos x="4" y="19"/>
                </a:cxn>
                <a:cxn ang="0">
                  <a:pos x="2" y="22"/>
                </a:cxn>
                <a:cxn ang="0">
                  <a:pos x="0" y="2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3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24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1" y="36"/>
                </a:cxn>
                <a:cxn ang="0">
                  <a:pos x="13" y="36"/>
                </a:cxn>
                <a:cxn ang="0">
                  <a:pos x="32" y="36"/>
                </a:cxn>
                <a:cxn ang="0">
                  <a:pos x="32" y="22"/>
                </a:cxn>
                <a:cxn ang="0">
                  <a:pos x="31" y="14"/>
                </a:cxn>
                <a:cxn ang="0">
                  <a:pos x="30" y="7"/>
                </a:cxn>
                <a:cxn ang="0">
                  <a:pos x="26" y="0"/>
                </a:cxn>
                <a:cxn ang="0">
                  <a:pos x="19" y="2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0" y="18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4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1" y="46"/>
                </a:cxn>
                <a:cxn ang="0">
                  <a:pos x="22" y="48"/>
                </a:cxn>
                <a:cxn ang="0">
                  <a:pos x="33" y="51"/>
                </a:cxn>
                <a:cxn ang="0">
                  <a:pos x="43" y="52"/>
                </a:cxn>
                <a:cxn ang="0">
                  <a:pos x="63" y="52"/>
                </a:cxn>
                <a:cxn ang="0">
                  <a:pos x="82" y="51"/>
                </a:cxn>
                <a:cxn ang="0">
                  <a:pos x="117" y="46"/>
                </a:cxn>
                <a:cxn ang="0">
                  <a:pos x="146" y="43"/>
                </a:cxn>
                <a:cxn ang="0">
                  <a:pos x="144" y="36"/>
                </a:cxn>
                <a:cxn ang="0">
                  <a:pos x="142" y="30"/>
                </a:cxn>
                <a:cxn ang="0">
                  <a:pos x="139" y="24"/>
                </a:cxn>
                <a:cxn ang="0">
                  <a:pos x="137" y="19"/>
                </a:cxn>
                <a:cxn ang="0">
                  <a:pos x="134" y="15"/>
                </a:cxn>
                <a:cxn ang="0">
                  <a:pos x="129" y="11"/>
                </a:cxn>
                <a:cxn ang="0">
                  <a:pos x="125" y="8"/>
                </a:cxn>
                <a:cxn ang="0">
                  <a:pos x="121" y="6"/>
                </a:cxn>
                <a:cxn ang="0">
                  <a:pos x="111" y="2"/>
                </a:cxn>
                <a:cxn ang="0">
                  <a:pos x="101" y="0"/>
                </a:cxn>
                <a:cxn ang="0">
                  <a:pos x="89" y="1"/>
                </a:cxn>
                <a:cxn ang="0">
                  <a:pos x="78" y="2"/>
                </a:cxn>
                <a:cxn ang="0">
                  <a:pos x="66" y="5"/>
                </a:cxn>
                <a:cxn ang="0">
                  <a:pos x="54" y="9"/>
                </a:cxn>
                <a:cxn ang="0">
                  <a:pos x="43" y="14"/>
                </a:cxn>
                <a:cxn ang="0">
                  <a:pos x="32" y="19"/>
                </a:cxn>
                <a:cxn ang="0">
                  <a:pos x="22" y="25"/>
                </a:cxn>
                <a:cxn ang="0">
                  <a:pos x="13" y="31"/>
                </a:cxn>
                <a:cxn ang="0">
                  <a:pos x="5" y="37"/>
                </a:cxn>
                <a:cxn ang="0">
                  <a:pos x="0" y="43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5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0"/>
                </a:cxn>
                <a:cxn ang="0">
                  <a:pos x="38" y="0"/>
                </a:cxn>
                <a:cxn ang="0">
                  <a:pos x="31" y="0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9" y="2"/>
                </a:cxn>
                <a:cxn ang="0">
                  <a:pos x="5" y="3"/>
                </a:cxn>
                <a:cxn ang="0">
                  <a:pos x="2" y="5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12" y="27"/>
                </a:cxn>
                <a:cxn ang="0">
                  <a:pos x="18" y="29"/>
                </a:cxn>
                <a:cxn ang="0">
                  <a:pos x="22" y="31"/>
                </a:cxn>
                <a:cxn ang="0">
                  <a:pos x="27" y="31"/>
                </a:cxn>
                <a:cxn ang="0">
                  <a:pos x="32" y="30"/>
                </a:cxn>
                <a:cxn ang="0">
                  <a:pos x="37" y="28"/>
                </a:cxn>
                <a:cxn ang="0">
                  <a:pos x="43" y="24"/>
                </a:cxn>
                <a:cxn ang="0">
                  <a:pos x="48" y="18"/>
                </a:cxn>
                <a:cxn ang="0">
                  <a:pos x="57" y="10"/>
                </a:cxn>
                <a:cxn ang="0">
                  <a:pos x="60" y="6"/>
                </a:cxn>
                <a:cxn ang="0">
                  <a:pos x="60" y="0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6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46"/>
                </a:cxn>
                <a:cxn ang="0">
                  <a:pos x="1" y="49"/>
                </a:cxn>
                <a:cxn ang="0">
                  <a:pos x="3" y="51"/>
                </a:cxn>
                <a:cxn ang="0">
                  <a:pos x="4" y="53"/>
                </a:cxn>
                <a:cxn ang="0">
                  <a:pos x="10" y="57"/>
                </a:cxn>
                <a:cxn ang="0">
                  <a:pos x="15" y="59"/>
                </a:cxn>
                <a:cxn ang="0">
                  <a:pos x="28" y="62"/>
                </a:cxn>
                <a:cxn ang="0">
                  <a:pos x="40" y="62"/>
                </a:cxn>
                <a:cxn ang="0">
                  <a:pos x="45" y="62"/>
                </a:cxn>
                <a:cxn ang="0">
                  <a:pos x="49" y="59"/>
                </a:cxn>
                <a:cxn ang="0">
                  <a:pos x="54" y="57"/>
                </a:cxn>
                <a:cxn ang="0">
                  <a:pos x="58" y="54"/>
                </a:cxn>
                <a:cxn ang="0">
                  <a:pos x="65" y="47"/>
                </a:cxn>
                <a:cxn ang="0">
                  <a:pos x="70" y="38"/>
                </a:cxn>
                <a:cxn ang="0">
                  <a:pos x="74" y="28"/>
                </a:cxn>
                <a:cxn ang="0">
                  <a:pos x="78" y="18"/>
                </a:cxn>
                <a:cxn ang="0">
                  <a:pos x="79" y="8"/>
                </a:cxn>
                <a:cxn ang="0">
                  <a:pos x="80" y="0"/>
                </a:cxn>
                <a:cxn ang="0">
                  <a:pos x="71" y="0"/>
                </a:cxn>
                <a:cxn ang="0">
                  <a:pos x="59" y="3"/>
                </a:cxn>
                <a:cxn ang="0">
                  <a:pos x="46" y="8"/>
                </a:cxn>
                <a:cxn ang="0">
                  <a:pos x="33" y="13"/>
                </a:cxn>
                <a:cxn ang="0">
                  <a:pos x="21" y="19"/>
                </a:cxn>
                <a:cxn ang="0">
                  <a:pos x="10" y="26"/>
                </a:cxn>
                <a:cxn ang="0">
                  <a:pos x="6" y="30"/>
                </a:cxn>
                <a:cxn ang="0">
                  <a:pos x="3" y="34"/>
                </a:cxn>
                <a:cxn ang="0">
                  <a:pos x="1" y="39"/>
                </a:cxn>
                <a:cxn ang="0">
                  <a:pos x="0" y="43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7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/>
              <a:ahLst/>
              <a:cxnLst>
                <a:cxn ang="0">
                  <a:pos x="80" y="13"/>
                </a:cxn>
                <a:cxn ang="0">
                  <a:pos x="72" y="12"/>
                </a:cxn>
                <a:cxn ang="0">
                  <a:pos x="66" y="11"/>
                </a:cxn>
                <a:cxn ang="0">
                  <a:pos x="59" y="8"/>
                </a:cxn>
                <a:cxn ang="0">
                  <a:pos x="53" y="6"/>
                </a:cxn>
                <a:cxn ang="0">
                  <a:pos x="47" y="4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9" y="11"/>
                </a:cxn>
                <a:cxn ang="0">
                  <a:pos x="17" y="21"/>
                </a:cxn>
                <a:cxn ang="0">
                  <a:pos x="26" y="29"/>
                </a:cxn>
                <a:cxn ang="0">
                  <a:pos x="34" y="36"/>
                </a:cxn>
                <a:cxn ang="0">
                  <a:pos x="42" y="42"/>
                </a:cxn>
                <a:cxn ang="0">
                  <a:pos x="52" y="46"/>
                </a:cxn>
                <a:cxn ang="0">
                  <a:pos x="61" y="48"/>
                </a:cxn>
                <a:cxn ang="0">
                  <a:pos x="72" y="49"/>
                </a:cxn>
                <a:cxn ang="0">
                  <a:pos x="79" y="48"/>
                </a:cxn>
                <a:cxn ang="0">
                  <a:pos x="87" y="45"/>
                </a:cxn>
                <a:cxn ang="0">
                  <a:pos x="97" y="39"/>
                </a:cxn>
                <a:cxn ang="0">
                  <a:pos x="106" y="31"/>
                </a:cxn>
                <a:cxn ang="0">
                  <a:pos x="101" y="30"/>
                </a:cxn>
                <a:cxn ang="0">
                  <a:pos x="98" y="28"/>
                </a:cxn>
                <a:cxn ang="0">
                  <a:pos x="93" y="25"/>
                </a:cxn>
                <a:cxn ang="0">
                  <a:pos x="90" y="22"/>
                </a:cxn>
                <a:cxn ang="0">
                  <a:pos x="88" y="19"/>
                </a:cxn>
                <a:cxn ang="0">
                  <a:pos x="84" y="16"/>
                </a:cxn>
                <a:cxn ang="0">
                  <a:pos x="82" y="14"/>
                </a:cxn>
                <a:cxn ang="0">
                  <a:pos x="80" y="13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8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5" y="21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6" y="21"/>
                </a:cxn>
                <a:cxn ang="0">
                  <a:pos x="33" y="19"/>
                </a:cxn>
                <a:cxn ang="0">
                  <a:pos x="38" y="15"/>
                </a:cxn>
                <a:cxn ang="0">
                  <a:pos x="41" y="12"/>
                </a:cxn>
                <a:cxn ang="0">
                  <a:pos x="44" y="9"/>
                </a:cxn>
                <a:cxn ang="0">
                  <a:pos x="45" y="5"/>
                </a:cxn>
                <a:cxn ang="0">
                  <a:pos x="47" y="0"/>
                </a:cxn>
                <a:cxn ang="0">
                  <a:pos x="0" y="19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9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37" y="9"/>
                </a:cxn>
                <a:cxn ang="0">
                  <a:pos x="23" y="18"/>
                </a:cxn>
                <a:cxn ang="0">
                  <a:pos x="11" y="26"/>
                </a:cxn>
                <a:cxn ang="0">
                  <a:pos x="0" y="32"/>
                </a:cxn>
                <a:cxn ang="0">
                  <a:pos x="13" y="32"/>
                </a:cxn>
                <a:cxn ang="0">
                  <a:pos x="26" y="32"/>
                </a:cxn>
                <a:cxn ang="0">
                  <a:pos x="39" y="32"/>
                </a:cxn>
                <a:cxn ang="0">
                  <a:pos x="53" y="32"/>
                </a:cxn>
                <a:cxn ang="0">
                  <a:pos x="53" y="24"/>
                </a:cxn>
                <a:cxn ang="0">
                  <a:pos x="53" y="16"/>
                </a:cxn>
                <a:cxn ang="0">
                  <a:pos x="53" y="9"/>
                </a:cxn>
                <a:cxn ang="0">
                  <a:pos x="53" y="0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0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0" y="16"/>
                </a:cxn>
                <a:cxn ang="0">
                  <a:pos x="0" y="34"/>
                </a:cxn>
                <a:cxn ang="0">
                  <a:pos x="27" y="34"/>
                </a:cxn>
                <a:cxn ang="0">
                  <a:pos x="31" y="32"/>
                </a:cxn>
                <a:cxn ang="0">
                  <a:pos x="35" y="28"/>
                </a:cxn>
                <a:cxn ang="0">
                  <a:pos x="39" y="25"/>
                </a:cxn>
                <a:cxn ang="0">
                  <a:pos x="42" y="21"/>
                </a:cxn>
                <a:cxn ang="0">
                  <a:pos x="44" y="17"/>
                </a:cxn>
                <a:cxn ang="0">
                  <a:pos x="45" y="13"/>
                </a:cxn>
                <a:cxn ang="0">
                  <a:pos x="46" y="8"/>
                </a:cxn>
                <a:cxn ang="0">
                  <a:pos x="46" y="3"/>
                </a:cxn>
                <a:cxn ang="0">
                  <a:pos x="46" y="1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9" y="0"/>
                </a:cxn>
                <a:cxn ang="0">
                  <a:pos x="32" y="2"/>
                </a:cxn>
                <a:cxn ang="0">
                  <a:pos x="27" y="3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1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4" y="25"/>
                </a:cxn>
                <a:cxn ang="0">
                  <a:pos x="28" y="25"/>
                </a:cxn>
                <a:cxn ang="0">
                  <a:pos x="30" y="24"/>
                </a:cxn>
                <a:cxn ang="0">
                  <a:pos x="33" y="22"/>
                </a:cxn>
                <a:cxn ang="0">
                  <a:pos x="37" y="18"/>
                </a:cxn>
                <a:cxn ang="0">
                  <a:pos x="40" y="15"/>
                </a:cxn>
                <a:cxn ang="0">
                  <a:pos x="45" y="7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3" y="2"/>
                </a:cxn>
                <a:cxn ang="0">
                  <a:pos x="28" y="5"/>
                </a:cxn>
                <a:cxn ang="0">
                  <a:pos x="21" y="8"/>
                </a:cxn>
                <a:cxn ang="0">
                  <a:pos x="11" y="16"/>
                </a:cxn>
                <a:cxn ang="0">
                  <a:pos x="0" y="25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2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7"/>
                </a:cxn>
                <a:cxn ang="0">
                  <a:pos x="11" y="36"/>
                </a:cxn>
                <a:cxn ang="0">
                  <a:pos x="20" y="34"/>
                </a:cxn>
                <a:cxn ang="0">
                  <a:pos x="22" y="33"/>
                </a:cxn>
                <a:cxn ang="0">
                  <a:pos x="26" y="32"/>
                </a:cxn>
                <a:cxn ang="0">
                  <a:pos x="28" y="30"/>
                </a:cxn>
                <a:cxn ang="0">
                  <a:pos x="29" y="28"/>
                </a:cxn>
                <a:cxn ang="0">
                  <a:pos x="30" y="23"/>
                </a:cxn>
                <a:cxn ang="0">
                  <a:pos x="30" y="16"/>
                </a:cxn>
                <a:cxn ang="0">
                  <a:pos x="29" y="9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3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22" y="3"/>
                </a:cxn>
                <a:cxn ang="0">
                  <a:pos x="12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0" y="21"/>
                </a:cxn>
                <a:cxn ang="0">
                  <a:pos x="6" y="27"/>
                </a:cxn>
                <a:cxn ang="0">
                  <a:pos x="10" y="33"/>
                </a:cxn>
                <a:cxn ang="0">
                  <a:pos x="16" y="37"/>
                </a:cxn>
                <a:cxn ang="0">
                  <a:pos x="20" y="41"/>
                </a:cxn>
                <a:cxn ang="0">
                  <a:pos x="25" y="43"/>
                </a:cxn>
                <a:cxn ang="0">
                  <a:pos x="30" y="45"/>
                </a:cxn>
                <a:cxn ang="0">
                  <a:pos x="35" y="46"/>
                </a:cxn>
                <a:cxn ang="0">
                  <a:pos x="40" y="46"/>
                </a:cxn>
                <a:cxn ang="0">
                  <a:pos x="56" y="46"/>
                </a:cxn>
                <a:cxn ang="0">
                  <a:pos x="70" y="43"/>
                </a:cxn>
                <a:cxn ang="0">
                  <a:pos x="76" y="41"/>
                </a:cxn>
                <a:cxn ang="0">
                  <a:pos x="81" y="38"/>
                </a:cxn>
                <a:cxn ang="0">
                  <a:pos x="87" y="36"/>
                </a:cxn>
                <a:cxn ang="0">
                  <a:pos x="91" y="33"/>
                </a:cxn>
                <a:cxn ang="0">
                  <a:pos x="99" y="27"/>
                </a:cxn>
                <a:cxn ang="0">
                  <a:pos x="106" y="20"/>
                </a:cxn>
                <a:cxn ang="0">
                  <a:pos x="110" y="12"/>
                </a:cxn>
                <a:cxn ang="0">
                  <a:pos x="113" y="3"/>
                </a:cxn>
                <a:cxn ang="0">
                  <a:pos x="99" y="1"/>
                </a:cxn>
                <a:cxn ang="0">
                  <a:pos x="87" y="0"/>
                </a:cxn>
                <a:cxn ang="0">
                  <a:pos x="76" y="0"/>
                </a:cxn>
                <a:cxn ang="0">
                  <a:pos x="66" y="1"/>
                </a:cxn>
                <a:cxn ang="0">
                  <a:pos x="48" y="2"/>
                </a:cxn>
                <a:cxn ang="0">
                  <a:pos x="33" y="3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4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2" y="81"/>
                </a:cxn>
                <a:cxn ang="0">
                  <a:pos x="6" y="82"/>
                </a:cxn>
                <a:cxn ang="0">
                  <a:pos x="10" y="82"/>
                </a:cxn>
                <a:cxn ang="0">
                  <a:pos x="14" y="82"/>
                </a:cxn>
                <a:cxn ang="0">
                  <a:pos x="23" y="80"/>
                </a:cxn>
                <a:cxn ang="0">
                  <a:pos x="33" y="79"/>
                </a:cxn>
                <a:cxn ang="0">
                  <a:pos x="40" y="79"/>
                </a:cxn>
                <a:cxn ang="0">
                  <a:pos x="47" y="78"/>
                </a:cxn>
                <a:cxn ang="0">
                  <a:pos x="56" y="76"/>
                </a:cxn>
                <a:cxn ang="0">
                  <a:pos x="65" y="74"/>
                </a:cxn>
                <a:cxn ang="0">
                  <a:pos x="83" y="68"/>
                </a:cxn>
                <a:cxn ang="0">
                  <a:pos x="103" y="59"/>
                </a:cxn>
                <a:cxn ang="0">
                  <a:pos x="112" y="54"/>
                </a:cxn>
                <a:cxn ang="0">
                  <a:pos x="121" y="49"/>
                </a:cxn>
                <a:cxn ang="0">
                  <a:pos x="129" y="43"/>
                </a:cxn>
                <a:cxn ang="0">
                  <a:pos x="136" y="38"/>
                </a:cxn>
                <a:cxn ang="0">
                  <a:pos x="142" y="32"/>
                </a:cxn>
                <a:cxn ang="0">
                  <a:pos x="147" y="25"/>
                </a:cxn>
                <a:cxn ang="0">
                  <a:pos x="150" y="19"/>
                </a:cxn>
                <a:cxn ang="0">
                  <a:pos x="153" y="12"/>
                </a:cxn>
                <a:cxn ang="0">
                  <a:pos x="134" y="8"/>
                </a:cxn>
                <a:cxn ang="0">
                  <a:pos x="115" y="3"/>
                </a:cxn>
                <a:cxn ang="0">
                  <a:pos x="96" y="1"/>
                </a:cxn>
                <a:cxn ang="0">
                  <a:pos x="77" y="0"/>
                </a:cxn>
                <a:cxn ang="0">
                  <a:pos x="68" y="1"/>
                </a:cxn>
                <a:cxn ang="0">
                  <a:pos x="60" y="1"/>
                </a:cxn>
                <a:cxn ang="0">
                  <a:pos x="52" y="2"/>
                </a:cxn>
                <a:cxn ang="0">
                  <a:pos x="45" y="4"/>
                </a:cxn>
                <a:cxn ang="0">
                  <a:pos x="38" y="7"/>
                </a:cxn>
                <a:cxn ang="0">
                  <a:pos x="34" y="10"/>
                </a:cxn>
                <a:cxn ang="0">
                  <a:pos x="30" y="14"/>
                </a:cxn>
                <a:cxn ang="0">
                  <a:pos x="26" y="18"/>
                </a:cxn>
                <a:cxn ang="0">
                  <a:pos x="32" y="23"/>
                </a:cxn>
                <a:cxn ang="0">
                  <a:pos x="36" y="29"/>
                </a:cxn>
                <a:cxn ang="0">
                  <a:pos x="38" y="32"/>
                </a:cxn>
                <a:cxn ang="0">
                  <a:pos x="42" y="34"/>
                </a:cxn>
                <a:cxn ang="0">
                  <a:pos x="44" y="36"/>
                </a:cxn>
                <a:cxn ang="0">
                  <a:pos x="46" y="36"/>
                </a:cxn>
                <a:cxn ang="0">
                  <a:pos x="40" y="41"/>
                </a:cxn>
                <a:cxn ang="0">
                  <a:pos x="33" y="46"/>
                </a:cxn>
                <a:cxn ang="0">
                  <a:pos x="29" y="52"/>
                </a:cxn>
                <a:cxn ang="0">
                  <a:pos x="23" y="57"/>
                </a:cxn>
                <a:cxn ang="0">
                  <a:pos x="18" y="64"/>
                </a:cxn>
                <a:cxn ang="0">
                  <a:pos x="13" y="69"/>
                </a:cxn>
                <a:cxn ang="0">
                  <a:pos x="7" y="75"/>
                </a:cxn>
                <a:cxn ang="0">
                  <a:pos x="0" y="79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5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5" y="41"/>
                </a:cxn>
                <a:cxn ang="0">
                  <a:pos x="11" y="44"/>
                </a:cxn>
                <a:cxn ang="0">
                  <a:pos x="16" y="47"/>
                </a:cxn>
                <a:cxn ang="0">
                  <a:pos x="23" y="48"/>
                </a:cxn>
                <a:cxn ang="0">
                  <a:pos x="35" y="49"/>
                </a:cxn>
                <a:cxn ang="0">
                  <a:pos x="46" y="50"/>
                </a:cxn>
                <a:cxn ang="0">
                  <a:pos x="58" y="49"/>
                </a:cxn>
                <a:cxn ang="0">
                  <a:pos x="67" y="48"/>
                </a:cxn>
                <a:cxn ang="0">
                  <a:pos x="73" y="47"/>
                </a:cxn>
                <a:cxn ang="0">
                  <a:pos x="79" y="44"/>
                </a:cxn>
                <a:cxn ang="0">
                  <a:pos x="82" y="41"/>
                </a:cxn>
                <a:cxn ang="0">
                  <a:pos x="84" y="37"/>
                </a:cxn>
                <a:cxn ang="0">
                  <a:pos x="85" y="32"/>
                </a:cxn>
                <a:cxn ang="0">
                  <a:pos x="86" y="25"/>
                </a:cxn>
                <a:cxn ang="0">
                  <a:pos x="85" y="17"/>
                </a:cxn>
                <a:cxn ang="0">
                  <a:pos x="84" y="10"/>
                </a:cxn>
                <a:cxn ang="0">
                  <a:pos x="83" y="7"/>
                </a:cxn>
                <a:cxn ang="0">
                  <a:pos x="81" y="5"/>
                </a:cxn>
                <a:cxn ang="0">
                  <a:pos x="77" y="2"/>
                </a:cxn>
                <a:cxn ang="0">
                  <a:pos x="73" y="0"/>
                </a:cxn>
                <a:cxn ang="0">
                  <a:pos x="0" y="37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6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/>
              <a:ahLst/>
              <a:cxnLst>
                <a:cxn ang="0">
                  <a:pos x="119" y="61"/>
                </a:cxn>
                <a:cxn ang="0">
                  <a:pos x="109" y="61"/>
                </a:cxn>
                <a:cxn ang="0">
                  <a:pos x="99" y="61"/>
                </a:cxn>
                <a:cxn ang="0">
                  <a:pos x="90" y="61"/>
                </a:cxn>
                <a:cxn ang="0">
                  <a:pos x="80" y="61"/>
                </a:cxn>
                <a:cxn ang="0">
                  <a:pos x="60" y="74"/>
                </a:cxn>
                <a:cxn ang="0">
                  <a:pos x="33" y="74"/>
                </a:cxn>
                <a:cxn ang="0">
                  <a:pos x="36" y="61"/>
                </a:cxn>
                <a:cxn ang="0">
                  <a:pos x="39" y="49"/>
                </a:cxn>
                <a:cxn ang="0">
                  <a:pos x="30" y="49"/>
                </a:cxn>
                <a:cxn ang="0">
                  <a:pos x="23" y="48"/>
                </a:cxn>
                <a:cxn ang="0">
                  <a:pos x="15" y="47"/>
                </a:cxn>
                <a:cxn ang="0">
                  <a:pos x="9" y="45"/>
                </a:cxn>
                <a:cxn ang="0">
                  <a:pos x="5" y="42"/>
                </a:cxn>
                <a:cxn ang="0">
                  <a:pos x="2" y="39"/>
                </a:cxn>
                <a:cxn ang="0">
                  <a:pos x="1" y="35"/>
                </a:cxn>
                <a:cxn ang="0">
                  <a:pos x="0" y="31"/>
                </a:cxn>
                <a:cxn ang="0">
                  <a:pos x="1" y="26"/>
                </a:cxn>
                <a:cxn ang="0">
                  <a:pos x="2" y="21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0"/>
                </a:cxn>
                <a:cxn ang="0">
                  <a:pos x="18" y="7"/>
                </a:cxn>
                <a:cxn ang="0">
                  <a:pos x="24" y="5"/>
                </a:cxn>
                <a:cxn ang="0">
                  <a:pos x="29" y="4"/>
                </a:cxn>
                <a:cxn ang="0">
                  <a:pos x="42" y="1"/>
                </a:cxn>
                <a:cxn ang="0">
                  <a:pos x="56" y="0"/>
                </a:cxn>
                <a:cxn ang="0">
                  <a:pos x="69" y="0"/>
                </a:cxn>
                <a:cxn ang="0">
                  <a:pos x="80" y="0"/>
                </a:cxn>
                <a:cxn ang="0">
                  <a:pos x="94" y="1"/>
                </a:cxn>
                <a:cxn ang="0">
                  <a:pos x="106" y="4"/>
                </a:cxn>
                <a:cxn ang="0">
                  <a:pos x="117" y="7"/>
                </a:cxn>
                <a:cxn ang="0">
                  <a:pos x="128" y="13"/>
                </a:cxn>
                <a:cxn ang="0">
                  <a:pos x="139" y="17"/>
                </a:cxn>
                <a:cxn ang="0">
                  <a:pos x="150" y="21"/>
                </a:cxn>
                <a:cxn ang="0">
                  <a:pos x="161" y="24"/>
                </a:cxn>
                <a:cxn ang="0">
                  <a:pos x="172" y="25"/>
                </a:cxn>
                <a:cxn ang="0">
                  <a:pos x="172" y="43"/>
                </a:cxn>
                <a:cxn ang="0">
                  <a:pos x="169" y="48"/>
                </a:cxn>
                <a:cxn ang="0">
                  <a:pos x="165" y="53"/>
                </a:cxn>
                <a:cxn ang="0">
                  <a:pos x="161" y="57"/>
                </a:cxn>
                <a:cxn ang="0">
                  <a:pos x="158" y="60"/>
                </a:cxn>
                <a:cxn ang="0">
                  <a:pos x="153" y="62"/>
                </a:cxn>
                <a:cxn ang="0">
                  <a:pos x="149" y="63"/>
                </a:cxn>
                <a:cxn ang="0">
                  <a:pos x="146" y="65"/>
                </a:cxn>
                <a:cxn ang="0">
                  <a:pos x="141" y="65"/>
                </a:cxn>
                <a:cxn ang="0">
                  <a:pos x="131" y="65"/>
                </a:cxn>
                <a:cxn ang="0">
                  <a:pos x="121" y="63"/>
                </a:cxn>
                <a:cxn ang="0">
                  <a:pos x="112" y="59"/>
                </a:cxn>
                <a:cxn ang="0">
                  <a:pos x="99" y="55"/>
                </a:cxn>
                <a:cxn ang="0">
                  <a:pos x="106" y="55"/>
                </a:cxn>
                <a:cxn ang="0">
                  <a:pos x="119" y="61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7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47" y="49"/>
                </a:cxn>
                <a:cxn ang="0">
                  <a:pos x="64" y="48"/>
                </a:cxn>
                <a:cxn ang="0">
                  <a:pos x="78" y="46"/>
                </a:cxn>
                <a:cxn ang="0">
                  <a:pos x="90" y="43"/>
                </a:cxn>
                <a:cxn ang="0">
                  <a:pos x="96" y="39"/>
                </a:cxn>
                <a:cxn ang="0">
                  <a:pos x="100" y="37"/>
                </a:cxn>
                <a:cxn ang="0">
                  <a:pos x="104" y="34"/>
                </a:cxn>
                <a:cxn ang="0">
                  <a:pos x="108" y="31"/>
                </a:cxn>
                <a:cxn ang="0">
                  <a:pos x="114" y="22"/>
                </a:cxn>
                <a:cxn ang="0">
                  <a:pos x="120" y="12"/>
                </a:cxn>
                <a:cxn ang="0">
                  <a:pos x="102" y="6"/>
                </a:cxn>
                <a:cxn ang="0">
                  <a:pos x="84" y="3"/>
                </a:cxn>
                <a:cxn ang="0">
                  <a:pos x="66" y="1"/>
                </a:cxn>
                <a:cxn ang="0">
                  <a:pos x="50" y="0"/>
                </a:cxn>
                <a:cxn ang="0">
                  <a:pos x="34" y="1"/>
                </a:cxn>
                <a:cxn ang="0">
                  <a:pos x="20" y="2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0" y="30"/>
                </a:cxn>
                <a:cxn ang="0">
                  <a:pos x="2" y="35"/>
                </a:cxn>
                <a:cxn ang="0">
                  <a:pos x="6" y="38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20" y="48"/>
                </a:cxn>
                <a:cxn ang="0">
                  <a:pos x="27" y="49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8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2" y="5"/>
                </a:cxn>
                <a:cxn ang="0">
                  <a:pos x="11" y="12"/>
                </a:cxn>
                <a:cxn ang="0">
                  <a:pos x="6" y="17"/>
                </a:cxn>
                <a:cxn ang="0">
                  <a:pos x="3" y="21"/>
                </a:cxn>
                <a:cxn ang="0">
                  <a:pos x="0" y="25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5" y="43"/>
                </a:cxn>
                <a:cxn ang="0">
                  <a:pos x="11" y="48"/>
                </a:cxn>
                <a:cxn ang="0">
                  <a:pos x="18" y="53"/>
                </a:cxn>
                <a:cxn ang="0">
                  <a:pos x="27" y="56"/>
                </a:cxn>
                <a:cxn ang="0">
                  <a:pos x="36" y="59"/>
                </a:cxn>
                <a:cxn ang="0">
                  <a:pos x="45" y="61"/>
                </a:cxn>
                <a:cxn ang="0">
                  <a:pos x="53" y="61"/>
                </a:cxn>
                <a:cxn ang="0">
                  <a:pos x="56" y="61"/>
                </a:cxn>
                <a:cxn ang="0">
                  <a:pos x="59" y="60"/>
                </a:cxn>
                <a:cxn ang="0">
                  <a:pos x="62" y="59"/>
                </a:cxn>
                <a:cxn ang="0">
                  <a:pos x="66" y="57"/>
                </a:cxn>
                <a:cxn ang="0">
                  <a:pos x="72" y="52"/>
                </a:cxn>
                <a:cxn ang="0">
                  <a:pos x="77" y="47"/>
                </a:cxn>
                <a:cxn ang="0">
                  <a:pos x="80" y="40"/>
                </a:cxn>
                <a:cxn ang="0">
                  <a:pos x="83" y="33"/>
                </a:cxn>
                <a:cxn ang="0">
                  <a:pos x="85" y="25"/>
                </a:cxn>
                <a:cxn ang="0">
                  <a:pos x="85" y="18"/>
                </a:cxn>
                <a:cxn ang="0">
                  <a:pos x="33" y="0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9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1"/>
                </a:cxn>
                <a:cxn ang="0">
                  <a:pos x="13" y="15"/>
                </a:cxn>
                <a:cxn ang="0">
                  <a:pos x="21" y="18"/>
                </a:cxn>
                <a:cxn ang="0">
                  <a:pos x="27" y="19"/>
                </a:cxn>
                <a:cxn ang="0">
                  <a:pos x="100" y="6"/>
                </a:cxn>
                <a:cxn ang="0">
                  <a:pos x="73" y="2"/>
                </a:cxn>
                <a:cxn ang="0">
                  <a:pos x="47" y="0"/>
                </a:cxn>
                <a:cxn ang="0">
                  <a:pos x="36" y="0"/>
                </a:cxn>
                <a:cxn ang="0">
                  <a:pos x="24" y="1"/>
                </a:cxn>
                <a:cxn ang="0">
                  <a:pos x="12" y="3"/>
                </a:cxn>
                <a:cxn ang="0">
                  <a:pos x="0" y="6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0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9"/>
                </a:cxn>
                <a:cxn ang="0">
                  <a:pos x="3" y="31"/>
                </a:cxn>
                <a:cxn ang="0">
                  <a:pos x="8" y="33"/>
                </a:cxn>
                <a:cxn ang="0">
                  <a:pos x="13" y="35"/>
                </a:cxn>
                <a:cxn ang="0">
                  <a:pos x="27" y="38"/>
                </a:cxn>
                <a:cxn ang="0">
                  <a:pos x="44" y="41"/>
                </a:cxn>
                <a:cxn ang="0">
                  <a:pos x="75" y="44"/>
                </a:cxn>
                <a:cxn ang="0">
                  <a:pos x="92" y="45"/>
                </a:cxn>
                <a:cxn ang="0">
                  <a:pos x="166" y="27"/>
                </a:cxn>
                <a:cxn ang="0">
                  <a:pos x="157" y="25"/>
                </a:cxn>
                <a:cxn ang="0">
                  <a:pos x="137" y="19"/>
                </a:cxn>
                <a:cxn ang="0">
                  <a:pos x="110" y="11"/>
                </a:cxn>
                <a:cxn ang="0">
                  <a:pos x="80" y="4"/>
                </a:cxn>
                <a:cxn ang="0">
                  <a:pos x="65" y="2"/>
                </a:cxn>
                <a:cxn ang="0">
                  <a:pos x="50" y="1"/>
                </a:cxn>
                <a:cxn ang="0">
                  <a:pos x="36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7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1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3" y="15"/>
                </a:cxn>
                <a:cxn ang="0">
                  <a:pos x="6" y="20"/>
                </a:cxn>
                <a:cxn ang="0">
                  <a:pos x="11" y="22"/>
                </a:cxn>
                <a:cxn ang="0">
                  <a:pos x="16" y="24"/>
                </a:cxn>
                <a:cxn ang="0">
                  <a:pos x="22" y="25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2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12" y="56"/>
                </a:cxn>
                <a:cxn ang="0">
                  <a:pos x="22" y="50"/>
                </a:cxn>
                <a:cxn ang="0">
                  <a:pos x="30" y="43"/>
                </a:cxn>
                <a:cxn ang="0">
                  <a:pos x="37" y="36"/>
                </a:cxn>
                <a:cxn ang="0">
                  <a:pos x="41" y="28"/>
                </a:cxn>
                <a:cxn ang="0">
                  <a:pos x="44" y="19"/>
                </a:cxn>
                <a:cxn ang="0">
                  <a:pos x="47" y="9"/>
                </a:cxn>
                <a:cxn ang="0">
                  <a:pos x="48" y="0"/>
                </a:cxn>
                <a:cxn ang="0">
                  <a:pos x="40" y="3"/>
                </a:cxn>
                <a:cxn ang="0">
                  <a:pos x="32" y="6"/>
                </a:cxn>
                <a:cxn ang="0">
                  <a:pos x="23" y="10"/>
                </a:cxn>
                <a:cxn ang="0">
                  <a:pos x="17" y="15"/>
                </a:cxn>
                <a:cxn ang="0">
                  <a:pos x="10" y="21"/>
                </a:cxn>
                <a:cxn ang="0">
                  <a:pos x="6" y="27"/>
                </a:cxn>
                <a:cxn ang="0">
                  <a:pos x="4" y="31"/>
                </a:cxn>
                <a:cxn ang="0">
                  <a:pos x="3" y="35"/>
                </a:cxn>
                <a:cxn ang="0">
                  <a:pos x="1" y="39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0" y="62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3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36" y="7"/>
                </a:cxn>
                <a:cxn ang="0">
                  <a:pos x="23" y="17"/>
                </a:cxn>
                <a:cxn ang="0">
                  <a:pos x="11" y="27"/>
                </a:cxn>
                <a:cxn ang="0">
                  <a:pos x="0" y="37"/>
                </a:cxn>
                <a:cxn ang="0">
                  <a:pos x="22" y="46"/>
                </a:cxn>
                <a:cxn ang="0">
                  <a:pos x="41" y="54"/>
                </a:cxn>
                <a:cxn ang="0">
                  <a:pos x="51" y="57"/>
                </a:cxn>
                <a:cxn ang="0">
                  <a:pos x="62" y="59"/>
                </a:cxn>
                <a:cxn ang="0">
                  <a:pos x="73" y="61"/>
                </a:cxn>
                <a:cxn ang="0">
                  <a:pos x="87" y="62"/>
                </a:cxn>
                <a:cxn ang="0">
                  <a:pos x="97" y="61"/>
                </a:cxn>
                <a:cxn ang="0">
                  <a:pos x="106" y="58"/>
                </a:cxn>
                <a:cxn ang="0">
                  <a:pos x="109" y="56"/>
                </a:cxn>
                <a:cxn ang="0">
                  <a:pos x="111" y="54"/>
                </a:cxn>
                <a:cxn ang="0">
                  <a:pos x="113" y="52"/>
                </a:cxn>
                <a:cxn ang="0">
                  <a:pos x="113" y="49"/>
                </a:cxn>
                <a:cxn ang="0">
                  <a:pos x="91" y="41"/>
                </a:cxn>
                <a:cxn ang="0">
                  <a:pos x="70" y="32"/>
                </a:cxn>
                <a:cxn ang="0">
                  <a:pos x="65" y="29"/>
                </a:cxn>
                <a:cxn ang="0">
                  <a:pos x="61" y="26"/>
                </a:cxn>
                <a:cxn ang="0">
                  <a:pos x="57" y="23"/>
                </a:cxn>
                <a:cxn ang="0">
                  <a:pos x="54" y="20"/>
                </a:cxn>
                <a:cxn ang="0">
                  <a:pos x="51" y="16"/>
                </a:cxn>
                <a:cxn ang="0">
                  <a:pos x="48" y="10"/>
                </a:cxn>
                <a:cxn ang="0">
                  <a:pos x="47" y="5"/>
                </a:cxn>
                <a:cxn ang="0">
                  <a:pos x="47" y="0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4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30" y="1"/>
                </a:cxn>
                <a:cxn ang="0">
                  <a:pos x="45" y="2"/>
                </a:cxn>
                <a:cxn ang="0">
                  <a:pos x="59" y="5"/>
                </a:cxn>
                <a:cxn ang="0">
                  <a:pos x="64" y="7"/>
                </a:cxn>
                <a:cxn ang="0">
                  <a:pos x="71" y="9"/>
                </a:cxn>
                <a:cxn ang="0">
                  <a:pos x="75" y="12"/>
                </a:cxn>
                <a:cxn ang="0">
                  <a:pos x="81" y="16"/>
                </a:cxn>
                <a:cxn ang="0">
                  <a:pos x="85" y="20"/>
                </a:cxn>
                <a:cxn ang="0">
                  <a:pos x="89" y="25"/>
                </a:cxn>
                <a:cxn ang="0">
                  <a:pos x="91" y="30"/>
                </a:cxn>
                <a:cxn ang="0">
                  <a:pos x="93" y="37"/>
                </a:cxn>
                <a:cxn ang="0">
                  <a:pos x="79" y="37"/>
                </a:cxn>
                <a:cxn ang="0">
                  <a:pos x="68" y="39"/>
                </a:cxn>
                <a:cxn ang="0">
                  <a:pos x="60" y="41"/>
                </a:cxn>
                <a:cxn ang="0">
                  <a:pos x="52" y="43"/>
                </a:cxn>
                <a:cxn ang="0">
                  <a:pos x="42" y="47"/>
                </a:cxn>
                <a:cxn ang="0">
                  <a:pos x="33" y="50"/>
                </a:cxn>
                <a:cxn ang="0">
                  <a:pos x="30" y="50"/>
                </a:cxn>
                <a:cxn ang="0">
                  <a:pos x="28" y="48"/>
                </a:cxn>
                <a:cxn ang="0">
                  <a:pos x="26" y="47"/>
                </a:cxn>
                <a:cxn ang="0">
                  <a:pos x="25" y="45"/>
                </a:cxn>
                <a:cxn ang="0">
                  <a:pos x="23" y="41"/>
                </a:cxn>
                <a:cxn ang="0">
                  <a:pos x="22" y="36"/>
                </a:cxn>
                <a:cxn ang="0">
                  <a:pos x="22" y="31"/>
                </a:cxn>
                <a:cxn ang="0">
                  <a:pos x="23" y="26"/>
                </a:cxn>
                <a:cxn ang="0">
                  <a:pos x="24" y="22"/>
                </a:cxn>
                <a:cxn ang="0">
                  <a:pos x="26" y="1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5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/>
              <a:ahLst/>
              <a:cxnLst>
                <a:cxn ang="0">
                  <a:pos x="20" y="112"/>
                </a:cxn>
                <a:cxn ang="0">
                  <a:pos x="67" y="60"/>
                </a:cxn>
                <a:cxn ang="0">
                  <a:pos x="266" y="0"/>
                </a:cxn>
                <a:cxn ang="0">
                  <a:pos x="205" y="47"/>
                </a:cxn>
                <a:cxn ang="0">
                  <a:pos x="180" y="105"/>
                </a:cxn>
                <a:cxn ang="0">
                  <a:pos x="274" y="60"/>
                </a:cxn>
                <a:cxn ang="0">
                  <a:pos x="397" y="14"/>
                </a:cxn>
                <a:cxn ang="0">
                  <a:pos x="438" y="23"/>
                </a:cxn>
                <a:cxn ang="0">
                  <a:pos x="433" y="71"/>
                </a:cxn>
                <a:cxn ang="0">
                  <a:pos x="581" y="80"/>
                </a:cxn>
                <a:cxn ang="0">
                  <a:pos x="675" y="89"/>
                </a:cxn>
                <a:cxn ang="0">
                  <a:pos x="749" y="111"/>
                </a:cxn>
                <a:cxn ang="0">
                  <a:pos x="749" y="134"/>
                </a:cxn>
                <a:cxn ang="0">
                  <a:pos x="711" y="184"/>
                </a:cxn>
                <a:cxn ang="0">
                  <a:pos x="799" y="168"/>
                </a:cxn>
                <a:cxn ang="0">
                  <a:pos x="866" y="191"/>
                </a:cxn>
                <a:cxn ang="0">
                  <a:pos x="856" y="239"/>
                </a:cxn>
                <a:cxn ang="0">
                  <a:pos x="788" y="248"/>
                </a:cxn>
                <a:cxn ang="0">
                  <a:pos x="859" y="284"/>
                </a:cxn>
                <a:cxn ang="0">
                  <a:pos x="903" y="327"/>
                </a:cxn>
                <a:cxn ang="0">
                  <a:pos x="977" y="329"/>
                </a:cxn>
                <a:cxn ang="0">
                  <a:pos x="1029" y="351"/>
                </a:cxn>
                <a:cxn ang="0">
                  <a:pos x="939" y="409"/>
                </a:cxn>
                <a:cxn ang="0">
                  <a:pos x="899" y="417"/>
                </a:cxn>
                <a:cxn ang="0">
                  <a:pos x="874" y="443"/>
                </a:cxn>
                <a:cxn ang="0">
                  <a:pos x="830" y="414"/>
                </a:cxn>
                <a:cxn ang="0">
                  <a:pos x="851" y="393"/>
                </a:cxn>
                <a:cxn ang="0">
                  <a:pos x="792" y="379"/>
                </a:cxn>
                <a:cxn ang="0">
                  <a:pos x="759" y="364"/>
                </a:cxn>
                <a:cxn ang="0">
                  <a:pos x="744" y="394"/>
                </a:cxn>
                <a:cxn ang="0">
                  <a:pos x="747" y="445"/>
                </a:cxn>
                <a:cxn ang="0">
                  <a:pos x="795" y="523"/>
                </a:cxn>
                <a:cxn ang="0">
                  <a:pos x="771" y="547"/>
                </a:cxn>
                <a:cxn ang="0">
                  <a:pos x="708" y="556"/>
                </a:cxn>
                <a:cxn ang="0">
                  <a:pos x="618" y="517"/>
                </a:cxn>
                <a:cxn ang="0">
                  <a:pos x="668" y="567"/>
                </a:cxn>
                <a:cxn ang="0">
                  <a:pos x="665" y="604"/>
                </a:cxn>
                <a:cxn ang="0">
                  <a:pos x="518" y="570"/>
                </a:cxn>
                <a:cxn ang="0">
                  <a:pos x="471" y="523"/>
                </a:cxn>
                <a:cxn ang="0">
                  <a:pos x="410" y="473"/>
                </a:cxn>
                <a:cxn ang="0">
                  <a:pos x="367" y="453"/>
                </a:cxn>
                <a:cxn ang="0">
                  <a:pos x="392" y="433"/>
                </a:cxn>
                <a:cxn ang="0">
                  <a:pos x="459" y="399"/>
                </a:cxn>
                <a:cxn ang="0">
                  <a:pos x="500" y="378"/>
                </a:cxn>
                <a:cxn ang="0">
                  <a:pos x="577" y="380"/>
                </a:cxn>
                <a:cxn ang="0">
                  <a:pos x="614" y="395"/>
                </a:cxn>
                <a:cxn ang="0">
                  <a:pos x="687" y="387"/>
                </a:cxn>
                <a:cxn ang="0">
                  <a:pos x="581" y="355"/>
                </a:cxn>
                <a:cxn ang="0">
                  <a:pos x="542" y="361"/>
                </a:cxn>
                <a:cxn ang="0">
                  <a:pos x="539" y="350"/>
                </a:cxn>
                <a:cxn ang="0">
                  <a:pos x="576" y="306"/>
                </a:cxn>
                <a:cxn ang="0">
                  <a:pos x="576" y="274"/>
                </a:cxn>
                <a:cxn ang="0">
                  <a:pos x="524" y="254"/>
                </a:cxn>
                <a:cxn ang="0">
                  <a:pos x="473" y="198"/>
                </a:cxn>
                <a:cxn ang="0">
                  <a:pos x="434" y="168"/>
                </a:cxn>
                <a:cxn ang="0">
                  <a:pos x="408" y="163"/>
                </a:cxn>
                <a:cxn ang="0">
                  <a:pos x="378" y="203"/>
                </a:cxn>
                <a:cxn ang="0">
                  <a:pos x="207" y="174"/>
                </a:cxn>
                <a:cxn ang="0">
                  <a:pos x="114" y="189"/>
                </a:cxn>
                <a:cxn ang="0">
                  <a:pos x="79" y="187"/>
                </a:cxn>
                <a:cxn ang="0">
                  <a:pos x="16" y="180"/>
                </a:cxn>
                <a:cxn ang="0">
                  <a:pos x="9" y="158"/>
                </a:cxn>
                <a:cxn ang="0">
                  <a:pos x="75" y="149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6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/>
              <a:ahLst/>
              <a:cxnLst>
                <a:cxn ang="0">
                  <a:pos x="797" y="38"/>
                </a:cxn>
                <a:cxn ang="0">
                  <a:pos x="813" y="16"/>
                </a:cxn>
                <a:cxn ang="0">
                  <a:pos x="846" y="10"/>
                </a:cxn>
                <a:cxn ang="0">
                  <a:pos x="865" y="25"/>
                </a:cxn>
                <a:cxn ang="0">
                  <a:pos x="938" y="14"/>
                </a:cxn>
                <a:cxn ang="0">
                  <a:pos x="1020" y="1"/>
                </a:cxn>
                <a:cxn ang="0">
                  <a:pos x="1084" y="17"/>
                </a:cxn>
                <a:cxn ang="0">
                  <a:pos x="1133" y="20"/>
                </a:cxn>
                <a:cxn ang="0">
                  <a:pos x="1268" y="32"/>
                </a:cxn>
                <a:cxn ang="0">
                  <a:pos x="1242" y="50"/>
                </a:cxn>
                <a:cxn ang="0">
                  <a:pos x="1163" y="64"/>
                </a:cxn>
                <a:cxn ang="0">
                  <a:pos x="1053" y="77"/>
                </a:cxn>
                <a:cxn ang="0">
                  <a:pos x="1029" y="96"/>
                </a:cxn>
                <a:cxn ang="0">
                  <a:pos x="999" y="104"/>
                </a:cxn>
                <a:cxn ang="0">
                  <a:pos x="942" y="102"/>
                </a:cxn>
                <a:cxn ang="0">
                  <a:pos x="930" y="118"/>
                </a:cxn>
                <a:cxn ang="0">
                  <a:pos x="747" y="133"/>
                </a:cxn>
                <a:cxn ang="0">
                  <a:pos x="666" y="156"/>
                </a:cxn>
                <a:cxn ang="0">
                  <a:pos x="635" y="181"/>
                </a:cxn>
                <a:cxn ang="0">
                  <a:pos x="591" y="167"/>
                </a:cxn>
                <a:cxn ang="0">
                  <a:pos x="570" y="181"/>
                </a:cxn>
                <a:cxn ang="0">
                  <a:pos x="590" y="207"/>
                </a:cxn>
                <a:cxn ang="0">
                  <a:pos x="545" y="237"/>
                </a:cxn>
                <a:cxn ang="0">
                  <a:pos x="483" y="236"/>
                </a:cxn>
                <a:cxn ang="0">
                  <a:pos x="404" y="242"/>
                </a:cxn>
                <a:cxn ang="0">
                  <a:pos x="405" y="257"/>
                </a:cxn>
                <a:cxn ang="0">
                  <a:pos x="392" y="293"/>
                </a:cxn>
                <a:cxn ang="0">
                  <a:pos x="333" y="320"/>
                </a:cxn>
                <a:cxn ang="0">
                  <a:pos x="290" y="296"/>
                </a:cxn>
                <a:cxn ang="0">
                  <a:pos x="253" y="285"/>
                </a:cxn>
                <a:cxn ang="0">
                  <a:pos x="96" y="276"/>
                </a:cxn>
                <a:cxn ang="0">
                  <a:pos x="0" y="285"/>
                </a:cxn>
                <a:cxn ang="0">
                  <a:pos x="10" y="266"/>
                </a:cxn>
                <a:cxn ang="0">
                  <a:pos x="56" y="246"/>
                </a:cxn>
                <a:cxn ang="0">
                  <a:pos x="143" y="235"/>
                </a:cxn>
                <a:cxn ang="0">
                  <a:pos x="170" y="225"/>
                </a:cxn>
                <a:cxn ang="0">
                  <a:pos x="190" y="217"/>
                </a:cxn>
                <a:cxn ang="0">
                  <a:pos x="219" y="232"/>
                </a:cxn>
                <a:cxn ang="0">
                  <a:pos x="247" y="247"/>
                </a:cxn>
                <a:cxn ang="0">
                  <a:pos x="208" y="207"/>
                </a:cxn>
                <a:cxn ang="0">
                  <a:pos x="193" y="200"/>
                </a:cxn>
                <a:cxn ang="0">
                  <a:pos x="197" y="181"/>
                </a:cxn>
                <a:cxn ang="0">
                  <a:pos x="246" y="174"/>
                </a:cxn>
                <a:cxn ang="0">
                  <a:pos x="365" y="186"/>
                </a:cxn>
                <a:cxn ang="0">
                  <a:pos x="418" y="174"/>
                </a:cxn>
                <a:cxn ang="0">
                  <a:pos x="322" y="169"/>
                </a:cxn>
                <a:cxn ang="0">
                  <a:pos x="299" y="149"/>
                </a:cxn>
                <a:cxn ang="0">
                  <a:pos x="378" y="137"/>
                </a:cxn>
                <a:cxn ang="0">
                  <a:pos x="438" y="155"/>
                </a:cxn>
                <a:cxn ang="0">
                  <a:pos x="478" y="124"/>
                </a:cxn>
                <a:cxn ang="0">
                  <a:pos x="664" y="87"/>
                </a:cxn>
                <a:cxn ang="0">
                  <a:pos x="589" y="110"/>
                </a:cxn>
                <a:cxn ang="0">
                  <a:pos x="449" y="111"/>
                </a:cxn>
                <a:cxn ang="0">
                  <a:pos x="312" y="116"/>
                </a:cxn>
                <a:cxn ang="0">
                  <a:pos x="253" y="101"/>
                </a:cxn>
                <a:cxn ang="0">
                  <a:pos x="219" y="80"/>
                </a:cxn>
                <a:cxn ang="0">
                  <a:pos x="253" y="71"/>
                </a:cxn>
                <a:cxn ang="0">
                  <a:pos x="446" y="47"/>
                </a:cxn>
                <a:cxn ang="0">
                  <a:pos x="618" y="32"/>
                </a:cxn>
                <a:cxn ang="0">
                  <a:pos x="674" y="20"/>
                </a:cxn>
                <a:cxn ang="0">
                  <a:pos x="757" y="26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7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0"/>
                </a:cxn>
                <a:cxn ang="0">
                  <a:pos x="4" y="19"/>
                </a:cxn>
                <a:cxn ang="0">
                  <a:pos x="9" y="29"/>
                </a:cxn>
                <a:cxn ang="0">
                  <a:pos x="15" y="39"/>
                </a:cxn>
                <a:cxn ang="0">
                  <a:pos x="22" y="48"/>
                </a:cxn>
                <a:cxn ang="0">
                  <a:pos x="31" y="59"/>
                </a:cxn>
                <a:cxn ang="0">
                  <a:pos x="41" y="68"/>
                </a:cxn>
                <a:cxn ang="0">
                  <a:pos x="51" y="77"/>
                </a:cxn>
                <a:cxn ang="0">
                  <a:pos x="62" y="85"/>
                </a:cxn>
                <a:cxn ang="0">
                  <a:pos x="73" y="93"/>
                </a:cxn>
                <a:cxn ang="0">
                  <a:pos x="84" y="99"/>
                </a:cxn>
                <a:cxn ang="0">
                  <a:pos x="95" y="105"/>
                </a:cxn>
                <a:cxn ang="0">
                  <a:pos x="106" y="111"/>
                </a:cxn>
                <a:cxn ang="0">
                  <a:pos x="116" y="114"/>
                </a:cxn>
                <a:cxn ang="0">
                  <a:pos x="124" y="117"/>
                </a:cxn>
                <a:cxn ang="0">
                  <a:pos x="133" y="117"/>
                </a:cxn>
                <a:cxn ang="0">
                  <a:pos x="139" y="116"/>
                </a:cxn>
                <a:cxn ang="0">
                  <a:pos x="146" y="113"/>
                </a:cxn>
                <a:cxn ang="0">
                  <a:pos x="153" y="110"/>
                </a:cxn>
                <a:cxn ang="0">
                  <a:pos x="160" y="104"/>
                </a:cxn>
                <a:cxn ang="0">
                  <a:pos x="150" y="91"/>
                </a:cxn>
                <a:cxn ang="0">
                  <a:pos x="141" y="79"/>
                </a:cxn>
                <a:cxn ang="0">
                  <a:pos x="138" y="73"/>
                </a:cxn>
                <a:cxn ang="0">
                  <a:pos x="135" y="66"/>
                </a:cxn>
                <a:cxn ang="0">
                  <a:pos x="133" y="58"/>
                </a:cxn>
                <a:cxn ang="0">
                  <a:pos x="133" y="49"/>
                </a:cxn>
                <a:cxn ang="0">
                  <a:pos x="127" y="48"/>
                </a:cxn>
                <a:cxn ang="0">
                  <a:pos x="118" y="45"/>
                </a:cxn>
                <a:cxn ang="0">
                  <a:pos x="108" y="40"/>
                </a:cxn>
                <a:cxn ang="0">
                  <a:pos x="97" y="34"/>
                </a:cxn>
                <a:cxn ang="0">
                  <a:pos x="87" y="28"/>
                </a:cxn>
                <a:cxn ang="0">
                  <a:pos x="77" y="21"/>
                </a:cxn>
                <a:cxn ang="0">
                  <a:pos x="74" y="17"/>
                </a:cxn>
                <a:cxn ang="0">
                  <a:pos x="71" y="13"/>
                </a:cxn>
                <a:cxn ang="0">
                  <a:pos x="68" y="10"/>
                </a:cxn>
                <a:cxn ang="0">
                  <a:pos x="66" y="6"/>
                </a:cxn>
                <a:cxn ang="0">
                  <a:pos x="60" y="6"/>
                </a:cxn>
                <a:cxn ang="0">
                  <a:pos x="52" y="6"/>
                </a:cxn>
                <a:cxn ang="0">
                  <a:pos x="43" y="4"/>
                </a:cxn>
                <a:cxn ang="0">
                  <a:pos x="33" y="0"/>
                </a:cxn>
                <a:cxn ang="0">
                  <a:pos x="0" y="0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8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/>
              <a:ahLst/>
              <a:cxnLst>
                <a:cxn ang="0">
                  <a:pos x="40" y="123"/>
                </a:cxn>
                <a:cxn ang="0">
                  <a:pos x="80" y="36"/>
                </a:cxn>
                <a:cxn ang="0">
                  <a:pos x="80" y="18"/>
                </a:cxn>
                <a:cxn ang="0">
                  <a:pos x="68" y="17"/>
                </a:cxn>
                <a:cxn ang="0">
                  <a:pos x="59" y="16"/>
                </a:cxn>
                <a:cxn ang="0">
                  <a:pos x="53" y="14"/>
                </a:cxn>
                <a:cxn ang="0">
                  <a:pos x="47" y="11"/>
                </a:cxn>
                <a:cxn ang="0">
                  <a:pos x="44" y="8"/>
                </a:cxn>
                <a:cxn ang="0">
                  <a:pos x="42" y="5"/>
                </a:cxn>
                <a:cxn ang="0">
                  <a:pos x="41" y="2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40"/>
                </a:cxn>
                <a:cxn ang="0">
                  <a:pos x="0" y="52"/>
                </a:cxn>
                <a:cxn ang="0">
                  <a:pos x="0" y="61"/>
                </a:cxn>
                <a:cxn ang="0">
                  <a:pos x="1" y="69"/>
                </a:cxn>
                <a:cxn ang="0">
                  <a:pos x="3" y="78"/>
                </a:cxn>
                <a:cxn ang="0">
                  <a:pos x="7" y="88"/>
                </a:cxn>
                <a:cxn ang="0">
                  <a:pos x="11" y="99"/>
                </a:cxn>
                <a:cxn ang="0">
                  <a:pos x="20" y="121"/>
                </a:cxn>
                <a:cxn ang="0">
                  <a:pos x="27" y="141"/>
                </a:cxn>
                <a:cxn ang="0">
                  <a:pos x="31" y="135"/>
                </a:cxn>
                <a:cxn ang="0">
                  <a:pos x="33" y="129"/>
                </a:cxn>
                <a:cxn ang="0">
                  <a:pos x="34" y="127"/>
                </a:cxn>
                <a:cxn ang="0">
                  <a:pos x="36" y="125"/>
                </a:cxn>
                <a:cxn ang="0">
                  <a:pos x="38" y="123"/>
                </a:cxn>
                <a:cxn ang="0">
                  <a:pos x="40" y="123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9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96"/>
                </a:cxn>
                <a:cxn ang="0">
                  <a:pos x="2" y="100"/>
                </a:cxn>
                <a:cxn ang="0">
                  <a:pos x="4" y="103"/>
                </a:cxn>
                <a:cxn ang="0">
                  <a:pos x="6" y="106"/>
                </a:cxn>
                <a:cxn ang="0">
                  <a:pos x="14" y="111"/>
                </a:cxn>
                <a:cxn ang="0">
                  <a:pos x="23" y="115"/>
                </a:cxn>
                <a:cxn ang="0">
                  <a:pos x="31" y="120"/>
                </a:cxn>
                <a:cxn ang="0">
                  <a:pos x="41" y="122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8" y="124"/>
                </a:cxn>
                <a:cxn ang="0">
                  <a:pos x="75" y="123"/>
                </a:cxn>
                <a:cxn ang="0">
                  <a:pos x="81" y="122"/>
                </a:cxn>
                <a:cxn ang="0">
                  <a:pos x="87" y="120"/>
                </a:cxn>
                <a:cxn ang="0">
                  <a:pos x="97" y="114"/>
                </a:cxn>
                <a:cxn ang="0">
                  <a:pos x="106" y="108"/>
                </a:cxn>
                <a:cxn ang="0">
                  <a:pos x="115" y="103"/>
                </a:cxn>
                <a:cxn ang="0">
                  <a:pos x="125" y="98"/>
                </a:cxn>
                <a:cxn ang="0">
                  <a:pos x="130" y="96"/>
                </a:cxn>
                <a:cxn ang="0">
                  <a:pos x="137" y="94"/>
                </a:cxn>
                <a:cxn ang="0">
                  <a:pos x="145" y="93"/>
                </a:cxn>
                <a:cxn ang="0">
                  <a:pos x="152" y="93"/>
                </a:cxn>
                <a:cxn ang="0">
                  <a:pos x="162" y="94"/>
                </a:cxn>
                <a:cxn ang="0">
                  <a:pos x="171" y="96"/>
                </a:cxn>
                <a:cxn ang="0">
                  <a:pos x="180" y="99"/>
                </a:cxn>
                <a:cxn ang="0">
                  <a:pos x="188" y="103"/>
                </a:cxn>
                <a:cxn ang="0">
                  <a:pos x="204" y="111"/>
                </a:cxn>
                <a:cxn ang="0">
                  <a:pos x="219" y="117"/>
                </a:cxn>
                <a:cxn ang="0">
                  <a:pos x="259" y="117"/>
                </a:cxn>
                <a:cxn ang="0">
                  <a:pos x="259" y="99"/>
                </a:cxn>
                <a:cxn ang="0">
                  <a:pos x="252" y="98"/>
                </a:cxn>
                <a:cxn ang="0">
                  <a:pos x="244" y="96"/>
                </a:cxn>
                <a:cxn ang="0">
                  <a:pos x="236" y="94"/>
                </a:cxn>
                <a:cxn ang="0">
                  <a:pos x="226" y="93"/>
                </a:cxn>
                <a:cxn ang="0">
                  <a:pos x="230" y="85"/>
                </a:cxn>
                <a:cxn ang="0">
                  <a:pos x="236" y="79"/>
                </a:cxn>
                <a:cxn ang="0">
                  <a:pos x="240" y="74"/>
                </a:cxn>
                <a:cxn ang="0">
                  <a:pos x="246" y="69"/>
                </a:cxn>
                <a:cxn ang="0">
                  <a:pos x="238" y="61"/>
                </a:cxn>
                <a:cxn ang="0">
                  <a:pos x="230" y="56"/>
                </a:cxn>
                <a:cxn ang="0">
                  <a:pos x="222" y="50"/>
                </a:cxn>
                <a:cxn ang="0">
                  <a:pos x="214" y="46"/>
                </a:cxn>
                <a:cxn ang="0">
                  <a:pos x="197" y="37"/>
                </a:cxn>
                <a:cxn ang="0">
                  <a:pos x="182" y="30"/>
                </a:cxn>
                <a:cxn ang="0">
                  <a:pos x="166" y="23"/>
                </a:cxn>
                <a:cxn ang="0">
                  <a:pos x="153" y="17"/>
                </a:cxn>
                <a:cxn ang="0">
                  <a:pos x="147" y="13"/>
                </a:cxn>
                <a:cxn ang="0">
                  <a:pos x="141" y="10"/>
                </a:cxn>
                <a:cxn ang="0">
                  <a:pos x="137" y="5"/>
                </a:cxn>
                <a:cxn ang="0">
                  <a:pos x="132" y="0"/>
                </a:cxn>
                <a:cxn ang="0">
                  <a:pos x="124" y="3"/>
                </a:cxn>
                <a:cxn ang="0">
                  <a:pos x="114" y="7"/>
                </a:cxn>
                <a:cxn ang="0">
                  <a:pos x="105" y="12"/>
                </a:cxn>
                <a:cxn ang="0">
                  <a:pos x="95" y="17"/>
                </a:cxn>
                <a:cxn ang="0">
                  <a:pos x="75" y="29"/>
                </a:cxn>
                <a:cxn ang="0">
                  <a:pos x="57" y="42"/>
                </a:cxn>
                <a:cxn ang="0">
                  <a:pos x="38" y="56"/>
                </a:cxn>
                <a:cxn ang="0">
                  <a:pos x="23" y="70"/>
                </a:cxn>
                <a:cxn ang="0">
                  <a:pos x="9" y="83"/>
                </a:cxn>
                <a:cxn ang="0">
                  <a:pos x="0" y="93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0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7" y="35"/>
                </a:cxn>
                <a:cxn ang="0">
                  <a:pos x="14" y="38"/>
                </a:cxn>
                <a:cxn ang="0">
                  <a:pos x="20" y="42"/>
                </a:cxn>
                <a:cxn ang="0">
                  <a:pos x="26" y="47"/>
                </a:cxn>
                <a:cxn ang="0">
                  <a:pos x="32" y="51"/>
                </a:cxn>
                <a:cxn ang="0">
                  <a:pos x="36" y="54"/>
                </a:cxn>
                <a:cxn ang="0">
                  <a:pos x="41" y="56"/>
                </a:cxn>
                <a:cxn ang="0">
                  <a:pos x="47" y="57"/>
                </a:cxn>
                <a:cxn ang="0">
                  <a:pos x="55" y="57"/>
                </a:cxn>
                <a:cxn ang="0">
                  <a:pos x="62" y="56"/>
                </a:cxn>
                <a:cxn ang="0">
                  <a:pos x="70" y="55"/>
                </a:cxn>
                <a:cxn ang="0">
                  <a:pos x="77" y="53"/>
                </a:cxn>
                <a:cxn ang="0">
                  <a:pos x="83" y="50"/>
                </a:cxn>
                <a:cxn ang="0">
                  <a:pos x="89" y="48"/>
                </a:cxn>
                <a:cxn ang="0">
                  <a:pos x="93" y="44"/>
                </a:cxn>
                <a:cxn ang="0">
                  <a:pos x="97" y="40"/>
                </a:cxn>
                <a:cxn ang="0">
                  <a:pos x="106" y="32"/>
                </a:cxn>
                <a:cxn ang="0">
                  <a:pos x="112" y="23"/>
                </a:cxn>
                <a:cxn ang="0">
                  <a:pos x="116" y="13"/>
                </a:cxn>
                <a:cxn ang="0">
                  <a:pos x="119" y="1"/>
                </a:cxn>
                <a:cxn ang="0">
                  <a:pos x="101" y="0"/>
                </a:cxn>
                <a:cxn ang="0">
                  <a:pos x="82" y="0"/>
                </a:cxn>
                <a:cxn ang="0">
                  <a:pos x="63" y="2"/>
                </a:cxn>
                <a:cxn ang="0">
                  <a:pos x="45" y="5"/>
                </a:cxn>
                <a:cxn ang="0">
                  <a:pos x="36" y="7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5" y="16"/>
                </a:cxn>
                <a:cxn ang="0">
                  <a:pos x="10" y="19"/>
                </a:cxn>
                <a:cxn ang="0">
                  <a:pos x="5" y="23"/>
                </a:cxn>
                <a:cxn ang="0">
                  <a:pos x="2" y="27"/>
                </a:cxn>
                <a:cxn ang="0">
                  <a:pos x="0" y="32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1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3" y="52"/>
                </a:cxn>
                <a:cxn ang="0">
                  <a:pos x="17" y="52"/>
                </a:cxn>
                <a:cxn ang="0">
                  <a:pos x="24" y="50"/>
                </a:cxn>
                <a:cxn ang="0">
                  <a:pos x="34" y="50"/>
                </a:cxn>
                <a:cxn ang="0">
                  <a:pos x="43" y="49"/>
                </a:cxn>
                <a:cxn ang="0">
                  <a:pos x="53" y="48"/>
                </a:cxn>
                <a:cxn ang="0">
                  <a:pos x="62" y="47"/>
                </a:cxn>
                <a:cxn ang="0">
                  <a:pos x="70" y="43"/>
                </a:cxn>
                <a:cxn ang="0">
                  <a:pos x="79" y="40"/>
                </a:cxn>
                <a:cxn ang="0">
                  <a:pos x="88" y="36"/>
                </a:cxn>
                <a:cxn ang="0">
                  <a:pos x="97" y="31"/>
                </a:cxn>
                <a:cxn ang="0">
                  <a:pos x="107" y="24"/>
                </a:cxn>
                <a:cxn ang="0">
                  <a:pos x="107" y="0"/>
                </a:cxn>
                <a:cxn ang="0">
                  <a:pos x="98" y="1"/>
                </a:cxn>
                <a:cxn ang="0">
                  <a:pos x="86" y="3"/>
                </a:cxn>
                <a:cxn ang="0">
                  <a:pos x="72" y="7"/>
                </a:cxn>
                <a:cxn ang="0">
                  <a:pos x="56" y="13"/>
                </a:cxn>
                <a:cxn ang="0">
                  <a:pos x="41" y="20"/>
                </a:cxn>
                <a:cxn ang="0">
                  <a:pos x="25" y="28"/>
                </a:cxn>
                <a:cxn ang="0">
                  <a:pos x="19" y="33"/>
                </a:cxn>
                <a:cxn ang="0">
                  <a:pos x="12" y="38"/>
                </a:cxn>
                <a:cxn ang="0">
                  <a:pos x="6" y="43"/>
                </a:cxn>
                <a:cxn ang="0">
                  <a:pos x="0" y="50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2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/>
              <a:ahLst/>
              <a:cxnLst>
                <a:cxn ang="0">
                  <a:pos x="27" y="99"/>
                </a:cxn>
                <a:cxn ang="0">
                  <a:pos x="22" y="97"/>
                </a:cxn>
                <a:cxn ang="0">
                  <a:pos x="17" y="96"/>
                </a:cxn>
                <a:cxn ang="0">
                  <a:pos x="12" y="93"/>
                </a:cxn>
                <a:cxn ang="0">
                  <a:pos x="9" y="90"/>
                </a:cxn>
                <a:cxn ang="0">
                  <a:pos x="6" y="86"/>
                </a:cxn>
                <a:cxn ang="0">
                  <a:pos x="2" y="82"/>
                </a:cxn>
                <a:cxn ang="0">
                  <a:pos x="1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1" y="65"/>
                </a:cxn>
                <a:cxn ang="0">
                  <a:pos x="3" y="60"/>
                </a:cxn>
                <a:cxn ang="0">
                  <a:pos x="5" y="56"/>
                </a:cxn>
                <a:cxn ang="0">
                  <a:pos x="10" y="49"/>
                </a:cxn>
                <a:cxn ang="0">
                  <a:pos x="18" y="41"/>
                </a:cxn>
                <a:cxn ang="0">
                  <a:pos x="25" y="34"/>
                </a:cxn>
                <a:cxn ang="0">
                  <a:pos x="35" y="28"/>
                </a:cxn>
                <a:cxn ang="0">
                  <a:pos x="46" y="23"/>
                </a:cxn>
                <a:cxn ang="0">
                  <a:pos x="57" y="18"/>
                </a:cxn>
                <a:cxn ang="0">
                  <a:pos x="69" y="14"/>
                </a:cxn>
                <a:cxn ang="0">
                  <a:pos x="81" y="10"/>
                </a:cxn>
                <a:cxn ang="0">
                  <a:pos x="92" y="7"/>
                </a:cxn>
                <a:cxn ang="0">
                  <a:pos x="104" y="4"/>
                </a:cxn>
                <a:cxn ang="0">
                  <a:pos x="124" y="1"/>
                </a:cxn>
                <a:cxn ang="0">
                  <a:pos x="140" y="0"/>
                </a:cxn>
                <a:cxn ang="0">
                  <a:pos x="168" y="0"/>
                </a:cxn>
                <a:cxn ang="0">
                  <a:pos x="193" y="1"/>
                </a:cxn>
                <a:cxn ang="0">
                  <a:pos x="219" y="2"/>
                </a:cxn>
                <a:cxn ang="0">
                  <a:pos x="246" y="6"/>
                </a:cxn>
                <a:cxn ang="0">
                  <a:pos x="244" y="11"/>
                </a:cxn>
                <a:cxn ang="0">
                  <a:pos x="241" y="15"/>
                </a:cxn>
                <a:cxn ang="0">
                  <a:pos x="236" y="20"/>
                </a:cxn>
                <a:cxn ang="0">
                  <a:pos x="231" y="26"/>
                </a:cxn>
                <a:cxn ang="0">
                  <a:pos x="215" y="36"/>
                </a:cxn>
                <a:cxn ang="0">
                  <a:pos x="199" y="46"/>
                </a:cxn>
                <a:cxn ang="0">
                  <a:pos x="180" y="55"/>
                </a:cxn>
                <a:cxn ang="0">
                  <a:pos x="162" y="61"/>
                </a:cxn>
                <a:cxn ang="0">
                  <a:pos x="152" y="64"/>
                </a:cxn>
                <a:cxn ang="0">
                  <a:pos x="143" y="66"/>
                </a:cxn>
                <a:cxn ang="0">
                  <a:pos x="134" y="67"/>
                </a:cxn>
                <a:cxn ang="0">
                  <a:pos x="126" y="67"/>
                </a:cxn>
                <a:cxn ang="0">
                  <a:pos x="120" y="67"/>
                </a:cxn>
                <a:cxn ang="0">
                  <a:pos x="110" y="67"/>
                </a:cxn>
                <a:cxn ang="0">
                  <a:pos x="100" y="67"/>
                </a:cxn>
                <a:cxn ang="0">
                  <a:pos x="93" y="67"/>
                </a:cxn>
                <a:cxn ang="0">
                  <a:pos x="88" y="69"/>
                </a:cxn>
                <a:cxn ang="0">
                  <a:pos x="80" y="72"/>
                </a:cxn>
                <a:cxn ang="0">
                  <a:pos x="72" y="77"/>
                </a:cxn>
                <a:cxn ang="0">
                  <a:pos x="63" y="83"/>
                </a:cxn>
                <a:cxn ang="0">
                  <a:pos x="53" y="88"/>
                </a:cxn>
                <a:cxn ang="0">
                  <a:pos x="44" y="93"/>
                </a:cxn>
                <a:cxn ang="0">
                  <a:pos x="35" y="96"/>
                </a:cxn>
                <a:cxn ang="0">
                  <a:pos x="27" y="99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3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/>
              <a:ahLst/>
              <a:cxnLst>
                <a:cxn ang="0">
                  <a:pos x="33" y="88"/>
                </a:cxn>
                <a:cxn ang="0">
                  <a:pos x="10" y="78"/>
                </a:cxn>
                <a:cxn ang="0">
                  <a:pos x="0" y="55"/>
                </a:cxn>
                <a:cxn ang="0">
                  <a:pos x="20" y="37"/>
                </a:cxn>
                <a:cxn ang="0">
                  <a:pos x="40" y="37"/>
                </a:cxn>
                <a:cxn ang="0">
                  <a:pos x="61" y="37"/>
                </a:cxn>
                <a:cxn ang="0">
                  <a:pos x="72" y="36"/>
                </a:cxn>
                <a:cxn ang="0">
                  <a:pos x="83" y="33"/>
                </a:cxn>
                <a:cxn ang="0">
                  <a:pos x="104" y="23"/>
                </a:cxn>
                <a:cxn ang="0">
                  <a:pos x="123" y="11"/>
                </a:cxn>
                <a:cxn ang="0">
                  <a:pos x="146" y="0"/>
                </a:cxn>
                <a:cxn ang="0">
                  <a:pos x="161" y="8"/>
                </a:cxn>
                <a:cxn ang="0">
                  <a:pos x="181" y="12"/>
                </a:cxn>
                <a:cxn ang="0">
                  <a:pos x="190" y="10"/>
                </a:cxn>
                <a:cxn ang="0">
                  <a:pos x="201" y="6"/>
                </a:cxn>
                <a:cxn ang="0">
                  <a:pos x="213" y="0"/>
                </a:cxn>
                <a:cxn ang="0">
                  <a:pos x="232" y="6"/>
                </a:cxn>
                <a:cxn ang="0">
                  <a:pos x="228" y="18"/>
                </a:cxn>
                <a:cxn ang="0">
                  <a:pos x="219" y="25"/>
                </a:cxn>
                <a:cxn ang="0">
                  <a:pos x="207" y="30"/>
                </a:cxn>
                <a:cxn ang="0">
                  <a:pos x="201" y="43"/>
                </a:cxn>
                <a:cxn ang="0">
                  <a:pos x="206" y="62"/>
                </a:cxn>
                <a:cxn ang="0">
                  <a:pos x="185" y="85"/>
                </a:cxn>
                <a:cxn ang="0">
                  <a:pos x="157" y="96"/>
                </a:cxn>
                <a:cxn ang="0">
                  <a:pos x="139" y="98"/>
                </a:cxn>
                <a:cxn ang="0">
                  <a:pos x="116" y="100"/>
                </a:cxn>
                <a:cxn ang="0">
                  <a:pos x="96" y="106"/>
                </a:cxn>
                <a:cxn ang="0">
                  <a:pos x="82" y="115"/>
                </a:cxn>
                <a:cxn ang="0">
                  <a:pos x="67" y="122"/>
                </a:cxn>
                <a:cxn ang="0">
                  <a:pos x="58" y="122"/>
                </a:cxn>
                <a:cxn ang="0">
                  <a:pos x="53" y="115"/>
                </a:cxn>
                <a:cxn ang="0">
                  <a:pos x="48" y="100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4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3" y="156"/>
                </a:cxn>
                <a:cxn ang="0">
                  <a:pos x="9" y="162"/>
                </a:cxn>
                <a:cxn ang="0">
                  <a:pos x="17" y="167"/>
                </a:cxn>
                <a:cxn ang="0">
                  <a:pos x="31" y="170"/>
                </a:cxn>
                <a:cxn ang="0">
                  <a:pos x="51" y="172"/>
                </a:cxn>
                <a:cxn ang="0">
                  <a:pos x="73" y="172"/>
                </a:cxn>
                <a:cxn ang="0">
                  <a:pos x="99" y="167"/>
                </a:cxn>
                <a:cxn ang="0">
                  <a:pos x="139" y="156"/>
                </a:cxn>
                <a:cxn ang="0">
                  <a:pos x="189" y="135"/>
                </a:cxn>
                <a:cxn ang="0">
                  <a:pos x="240" y="113"/>
                </a:cxn>
                <a:cxn ang="0">
                  <a:pos x="287" y="100"/>
                </a:cxn>
                <a:cxn ang="0">
                  <a:pos x="350" y="87"/>
                </a:cxn>
                <a:cxn ang="0">
                  <a:pos x="401" y="75"/>
                </a:cxn>
                <a:cxn ang="0">
                  <a:pos x="434" y="64"/>
                </a:cxn>
                <a:cxn ang="0">
                  <a:pos x="461" y="52"/>
                </a:cxn>
                <a:cxn ang="0">
                  <a:pos x="475" y="42"/>
                </a:cxn>
                <a:cxn ang="0">
                  <a:pos x="482" y="35"/>
                </a:cxn>
                <a:cxn ang="0">
                  <a:pos x="449" y="26"/>
                </a:cxn>
                <a:cxn ang="0">
                  <a:pos x="387" y="16"/>
                </a:cxn>
                <a:cxn ang="0">
                  <a:pos x="331" y="6"/>
                </a:cxn>
                <a:cxn ang="0">
                  <a:pos x="272" y="0"/>
                </a:cxn>
                <a:cxn ang="0">
                  <a:pos x="225" y="0"/>
                </a:cxn>
                <a:cxn ang="0">
                  <a:pos x="203" y="4"/>
                </a:cxn>
                <a:cxn ang="0">
                  <a:pos x="186" y="8"/>
                </a:cxn>
                <a:cxn ang="0">
                  <a:pos x="176" y="6"/>
                </a:cxn>
                <a:cxn ang="0">
                  <a:pos x="169" y="3"/>
                </a:cxn>
                <a:cxn ang="0">
                  <a:pos x="165" y="8"/>
                </a:cxn>
                <a:cxn ang="0">
                  <a:pos x="161" y="24"/>
                </a:cxn>
                <a:cxn ang="0">
                  <a:pos x="154" y="36"/>
                </a:cxn>
                <a:cxn ang="0">
                  <a:pos x="144" y="46"/>
                </a:cxn>
                <a:cxn ang="0">
                  <a:pos x="127" y="58"/>
                </a:cxn>
                <a:cxn ang="0">
                  <a:pos x="97" y="69"/>
                </a:cxn>
                <a:cxn ang="0">
                  <a:pos x="66" y="78"/>
                </a:cxn>
                <a:cxn ang="0">
                  <a:pos x="38" y="88"/>
                </a:cxn>
                <a:cxn ang="0">
                  <a:pos x="19" y="98"/>
                </a:cxn>
                <a:cxn ang="0">
                  <a:pos x="10" y="107"/>
                </a:cxn>
                <a:cxn ang="0">
                  <a:pos x="3" y="119"/>
                </a:cxn>
                <a:cxn ang="0">
                  <a:pos x="0" y="134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5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/>
              <a:ahLst/>
              <a:cxnLst>
                <a:cxn ang="0">
                  <a:pos x="317" y="5"/>
                </a:cxn>
                <a:cxn ang="0">
                  <a:pos x="304" y="27"/>
                </a:cxn>
                <a:cxn ang="0">
                  <a:pos x="297" y="41"/>
                </a:cxn>
                <a:cxn ang="0">
                  <a:pos x="299" y="43"/>
                </a:cxn>
                <a:cxn ang="0">
                  <a:pos x="337" y="39"/>
                </a:cxn>
                <a:cxn ang="0">
                  <a:pos x="372" y="19"/>
                </a:cxn>
                <a:cxn ang="0">
                  <a:pos x="379" y="38"/>
                </a:cxn>
                <a:cxn ang="0">
                  <a:pos x="377" y="55"/>
                </a:cxn>
                <a:cxn ang="0">
                  <a:pos x="405" y="69"/>
                </a:cxn>
                <a:cxn ang="0">
                  <a:pos x="511" y="51"/>
                </a:cxn>
                <a:cxn ang="0">
                  <a:pos x="514" y="70"/>
                </a:cxn>
                <a:cxn ang="0">
                  <a:pos x="541" y="63"/>
                </a:cxn>
                <a:cxn ang="0">
                  <a:pos x="557" y="45"/>
                </a:cxn>
                <a:cxn ang="0">
                  <a:pos x="558" y="19"/>
                </a:cxn>
                <a:cxn ang="0">
                  <a:pos x="563" y="8"/>
                </a:cxn>
                <a:cxn ang="0">
                  <a:pos x="579" y="0"/>
                </a:cxn>
                <a:cxn ang="0">
                  <a:pos x="624" y="3"/>
                </a:cxn>
                <a:cxn ang="0">
                  <a:pos x="645" y="0"/>
                </a:cxn>
                <a:cxn ang="0">
                  <a:pos x="657" y="39"/>
                </a:cxn>
                <a:cxn ang="0">
                  <a:pos x="653" y="70"/>
                </a:cxn>
                <a:cxn ang="0">
                  <a:pos x="637" y="101"/>
                </a:cxn>
                <a:cxn ang="0">
                  <a:pos x="618" y="124"/>
                </a:cxn>
                <a:cxn ang="0">
                  <a:pos x="648" y="137"/>
                </a:cxn>
                <a:cxn ang="0">
                  <a:pos x="672" y="145"/>
                </a:cxn>
                <a:cxn ang="0">
                  <a:pos x="684" y="180"/>
                </a:cxn>
                <a:cxn ang="0">
                  <a:pos x="639" y="185"/>
                </a:cxn>
                <a:cxn ang="0">
                  <a:pos x="608" y="181"/>
                </a:cxn>
                <a:cxn ang="0">
                  <a:pos x="574" y="180"/>
                </a:cxn>
                <a:cxn ang="0">
                  <a:pos x="564" y="184"/>
                </a:cxn>
                <a:cxn ang="0">
                  <a:pos x="542" y="200"/>
                </a:cxn>
                <a:cxn ang="0">
                  <a:pos x="524" y="209"/>
                </a:cxn>
                <a:cxn ang="0">
                  <a:pos x="493" y="209"/>
                </a:cxn>
                <a:cxn ang="0">
                  <a:pos x="452" y="204"/>
                </a:cxn>
                <a:cxn ang="0">
                  <a:pos x="422" y="198"/>
                </a:cxn>
                <a:cxn ang="0">
                  <a:pos x="337" y="211"/>
                </a:cxn>
                <a:cxn ang="0">
                  <a:pos x="231" y="230"/>
                </a:cxn>
                <a:cxn ang="0">
                  <a:pos x="169" y="238"/>
                </a:cxn>
                <a:cxn ang="0">
                  <a:pos x="124" y="238"/>
                </a:cxn>
                <a:cxn ang="0">
                  <a:pos x="100" y="228"/>
                </a:cxn>
                <a:cxn ang="0">
                  <a:pos x="67" y="208"/>
                </a:cxn>
                <a:cxn ang="0">
                  <a:pos x="29" y="196"/>
                </a:cxn>
                <a:cxn ang="0">
                  <a:pos x="0" y="173"/>
                </a:cxn>
                <a:cxn ang="0">
                  <a:pos x="64" y="159"/>
                </a:cxn>
                <a:cxn ang="0">
                  <a:pos x="100" y="154"/>
                </a:cxn>
                <a:cxn ang="0">
                  <a:pos x="156" y="160"/>
                </a:cxn>
                <a:cxn ang="0">
                  <a:pos x="201" y="165"/>
                </a:cxn>
                <a:cxn ang="0">
                  <a:pos x="224" y="162"/>
                </a:cxn>
                <a:cxn ang="0">
                  <a:pos x="26" y="136"/>
                </a:cxn>
                <a:cxn ang="0">
                  <a:pos x="52" y="128"/>
                </a:cxn>
                <a:cxn ang="0">
                  <a:pos x="109" y="117"/>
                </a:cxn>
                <a:cxn ang="0">
                  <a:pos x="165" y="108"/>
                </a:cxn>
                <a:cxn ang="0">
                  <a:pos x="187" y="99"/>
                </a:cxn>
                <a:cxn ang="0">
                  <a:pos x="166" y="93"/>
                </a:cxn>
                <a:cxn ang="0">
                  <a:pos x="125" y="98"/>
                </a:cxn>
                <a:cxn ang="0">
                  <a:pos x="71" y="110"/>
                </a:cxn>
                <a:cxn ang="0">
                  <a:pos x="52" y="106"/>
                </a:cxn>
                <a:cxn ang="0">
                  <a:pos x="55" y="90"/>
                </a:cxn>
                <a:cxn ang="0">
                  <a:pos x="54" y="81"/>
                </a:cxn>
                <a:cxn ang="0">
                  <a:pos x="59" y="78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6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/>
              <a:ahLst/>
              <a:cxnLst>
                <a:cxn ang="0">
                  <a:pos x="180" y="38"/>
                </a:cxn>
                <a:cxn ang="0">
                  <a:pos x="202" y="24"/>
                </a:cxn>
                <a:cxn ang="0">
                  <a:pos x="226" y="7"/>
                </a:cxn>
                <a:cxn ang="0">
                  <a:pos x="240" y="1"/>
                </a:cxn>
                <a:cxn ang="0">
                  <a:pos x="246" y="1"/>
                </a:cxn>
                <a:cxn ang="0">
                  <a:pos x="245" y="12"/>
                </a:cxn>
                <a:cxn ang="0">
                  <a:pos x="234" y="33"/>
                </a:cxn>
                <a:cxn ang="0">
                  <a:pos x="217" y="55"/>
                </a:cxn>
                <a:cxn ang="0">
                  <a:pos x="202" y="67"/>
                </a:cxn>
                <a:cxn ang="0">
                  <a:pos x="191" y="71"/>
                </a:cxn>
                <a:cxn ang="0">
                  <a:pos x="191" y="73"/>
                </a:cxn>
                <a:cxn ang="0">
                  <a:pos x="201" y="74"/>
                </a:cxn>
                <a:cxn ang="0">
                  <a:pos x="216" y="72"/>
                </a:cxn>
                <a:cxn ang="0">
                  <a:pos x="224" y="77"/>
                </a:cxn>
                <a:cxn ang="0">
                  <a:pos x="217" y="88"/>
                </a:cxn>
                <a:cxn ang="0">
                  <a:pos x="214" y="97"/>
                </a:cxn>
                <a:cxn ang="0">
                  <a:pos x="217" y="105"/>
                </a:cxn>
                <a:cxn ang="0">
                  <a:pos x="249" y="113"/>
                </a:cxn>
                <a:cxn ang="0">
                  <a:pos x="308" y="124"/>
                </a:cxn>
                <a:cxn ang="0">
                  <a:pos x="322" y="131"/>
                </a:cxn>
                <a:cxn ang="0">
                  <a:pos x="315" y="140"/>
                </a:cxn>
                <a:cxn ang="0">
                  <a:pos x="303" y="149"/>
                </a:cxn>
                <a:cxn ang="0">
                  <a:pos x="299" y="154"/>
                </a:cxn>
                <a:cxn ang="0">
                  <a:pos x="302" y="160"/>
                </a:cxn>
                <a:cxn ang="0">
                  <a:pos x="308" y="168"/>
                </a:cxn>
                <a:cxn ang="0">
                  <a:pos x="319" y="176"/>
                </a:cxn>
                <a:cxn ang="0">
                  <a:pos x="329" y="184"/>
                </a:cxn>
                <a:cxn ang="0">
                  <a:pos x="290" y="211"/>
                </a:cxn>
                <a:cxn ang="0">
                  <a:pos x="241" y="241"/>
                </a:cxn>
                <a:cxn ang="0">
                  <a:pos x="207" y="268"/>
                </a:cxn>
                <a:cxn ang="0">
                  <a:pos x="173" y="244"/>
                </a:cxn>
                <a:cxn ang="0">
                  <a:pos x="182" y="243"/>
                </a:cxn>
                <a:cxn ang="0">
                  <a:pos x="189" y="240"/>
                </a:cxn>
                <a:cxn ang="0">
                  <a:pos x="200" y="232"/>
                </a:cxn>
                <a:cxn ang="0">
                  <a:pos x="149" y="232"/>
                </a:cxn>
                <a:cxn ang="0">
                  <a:pos x="101" y="232"/>
                </a:cxn>
                <a:cxn ang="0">
                  <a:pos x="58" y="232"/>
                </a:cxn>
                <a:cxn ang="0">
                  <a:pos x="27" y="232"/>
                </a:cxn>
                <a:cxn ang="0">
                  <a:pos x="11" y="227"/>
                </a:cxn>
                <a:cxn ang="0">
                  <a:pos x="3" y="222"/>
                </a:cxn>
                <a:cxn ang="0">
                  <a:pos x="0" y="213"/>
                </a:cxn>
                <a:cxn ang="0">
                  <a:pos x="4" y="205"/>
                </a:cxn>
                <a:cxn ang="0">
                  <a:pos x="13" y="197"/>
                </a:cxn>
                <a:cxn ang="0">
                  <a:pos x="41" y="179"/>
                </a:cxn>
                <a:cxn ang="0">
                  <a:pos x="73" y="162"/>
                </a:cxn>
                <a:cxn ang="0">
                  <a:pos x="85" y="152"/>
                </a:cxn>
                <a:cxn ang="0">
                  <a:pos x="93" y="145"/>
                </a:cxn>
                <a:cxn ang="0">
                  <a:pos x="106" y="130"/>
                </a:cxn>
                <a:cxn ang="0">
                  <a:pos x="116" y="114"/>
                </a:cxn>
                <a:cxn ang="0">
                  <a:pos x="130" y="79"/>
                </a:cxn>
                <a:cxn ang="0">
                  <a:pos x="138" y="64"/>
                </a:cxn>
                <a:cxn ang="0">
                  <a:pos x="147" y="52"/>
                </a:cxn>
                <a:cxn ang="0">
                  <a:pos x="158" y="43"/>
                </a:cxn>
                <a:cxn ang="0">
                  <a:pos x="173" y="40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7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/>
              <a:ahLst/>
              <a:cxnLst>
                <a:cxn ang="0">
                  <a:pos x="106" y="86"/>
                </a:cxn>
                <a:cxn ang="0">
                  <a:pos x="119" y="81"/>
                </a:cxn>
                <a:cxn ang="0">
                  <a:pos x="133" y="76"/>
                </a:cxn>
                <a:cxn ang="0">
                  <a:pos x="148" y="72"/>
                </a:cxn>
                <a:cxn ang="0">
                  <a:pos x="164" y="69"/>
                </a:cxn>
                <a:cxn ang="0">
                  <a:pos x="197" y="63"/>
                </a:cxn>
                <a:cxn ang="0">
                  <a:pos x="231" y="57"/>
                </a:cxn>
                <a:cxn ang="0">
                  <a:pos x="247" y="53"/>
                </a:cxn>
                <a:cxn ang="0">
                  <a:pos x="264" y="50"/>
                </a:cxn>
                <a:cxn ang="0">
                  <a:pos x="279" y="46"/>
                </a:cxn>
                <a:cxn ang="0">
                  <a:pos x="294" y="40"/>
                </a:cxn>
                <a:cxn ang="0">
                  <a:pos x="309" y="35"/>
                </a:cxn>
                <a:cxn ang="0">
                  <a:pos x="322" y="28"/>
                </a:cxn>
                <a:cxn ang="0">
                  <a:pos x="334" y="21"/>
                </a:cxn>
                <a:cxn ang="0">
                  <a:pos x="345" y="13"/>
                </a:cxn>
                <a:cxn ang="0">
                  <a:pos x="335" y="12"/>
                </a:cxn>
                <a:cxn ang="0">
                  <a:pos x="326" y="11"/>
                </a:cxn>
                <a:cxn ang="0">
                  <a:pos x="317" y="9"/>
                </a:cxn>
                <a:cxn ang="0">
                  <a:pos x="309" y="6"/>
                </a:cxn>
                <a:cxn ang="0">
                  <a:pos x="300" y="4"/>
                </a:cxn>
                <a:cxn ang="0">
                  <a:pos x="291" y="2"/>
                </a:cxn>
                <a:cxn ang="0">
                  <a:pos x="281" y="1"/>
                </a:cxn>
                <a:cxn ang="0">
                  <a:pos x="272" y="0"/>
                </a:cxn>
                <a:cxn ang="0">
                  <a:pos x="259" y="1"/>
                </a:cxn>
                <a:cxn ang="0">
                  <a:pos x="245" y="3"/>
                </a:cxn>
                <a:cxn ang="0">
                  <a:pos x="227" y="5"/>
                </a:cxn>
                <a:cxn ang="0">
                  <a:pos x="209" y="9"/>
                </a:cxn>
                <a:cxn ang="0">
                  <a:pos x="168" y="18"/>
                </a:cxn>
                <a:cxn ang="0">
                  <a:pos x="126" y="29"/>
                </a:cxn>
                <a:cxn ang="0">
                  <a:pos x="104" y="36"/>
                </a:cxn>
                <a:cxn ang="0">
                  <a:pos x="85" y="42"/>
                </a:cxn>
                <a:cxn ang="0">
                  <a:pos x="66" y="50"/>
                </a:cxn>
                <a:cxn ang="0">
                  <a:pos x="47" y="58"/>
                </a:cxn>
                <a:cxn ang="0">
                  <a:pos x="32" y="65"/>
                </a:cxn>
                <a:cxn ang="0">
                  <a:pos x="19" y="72"/>
                </a:cxn>
                <a:cxn ang="0">
                  <a:pos x="8" y="79"/>
                </a:cxn>
                <a:cxn ang="0">
                  <a:pos x="0" y="86"/>
                </a:cxn>
                <a:cxn ang="0">
                  <a:pos x="106" y="86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8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/>
              <a:ahLst/>
              <a:cxnLst>
                <a:cxn ang="0">
                  <a:pos x="19" y="86"/>
                </a:cxn>
                <a:cxn ang="0">
                  <a:pos x="77" y="81"/>
                </a:cxn>
                <a:cxn ang="0">
                  <a:pos x="103" y="81"/>
                </a:cxn>
                <a:cxn ang="0">
                  <a:pos x="92" y="89"/>
                </a:cxn>
                <a:cxn ang="0">
                  <a:pos x="81" y="100"/>
                </a:cxn>
                <a:cxn ang="0">
                  <a:pos x="73" y="112"/>
                </a:cxn>
                <a:cxn ang="0">
                  <a:pos x="73" y="119"/>
                </a:cxn>
                <a:cxn ang="0">
                  <a:pos x="79" y="124"/>
                </a:cxn>
                <a:cxn ang="0">
                  <a:pos x="92" y="129"/>
                </a:cxn>
                <a:cxn ang="0">
                  <a:pos x="109" y="129"/>
                </a:cxn>
                <a:cxn ang="0">
                  <a:pos x="128" y="127"/>
                </a:cxn>
                <a:cxn ang="0">
                  <a:pos x="157" y="119"/>
                </a:cxn>
                <a:cxn ang="0">
                  <a:pos x="196" y="108"/>
                </a:cxn>
                <a:cxn ang="0">
                  <a:pos x="226" y="101"/>
                </a:cxn>
                <a:cxn ang="0">
                  <a:pos x="248" y="99"/>
                </a:cxn>
                <a:cxn ang="0">
                  <a:pos x="266" y="99"/>
                </a:cxn>
                <a:cxn ang="0">
                  <a:pos x="304" y="99"/>
                </a:cxn>
                <a:cxn ang="0">
                  <a:pos x="333" y="98"/>
                </a:cxn>
                <a:cxn ang="0">
                  <a:pos x="376" y="93"/>
                </a:cxn>
                <a:cxn ang="0">
                  <a:pos x="415" y="83"/>
                </a:cxn>
                <a:cxn ang="0">
                  <a:pos x="449" y="66"/>
                </a:cxn>
                <a:cxn ang="0">
                  <a:pos x="455" y="51"/>
                </a:cxn>
                <a:cxn ang="0">
                  <a:pos x="439" y="48"/>
                </a:cxn>
                <a:cxn ang="0">
                  <a:pos x="413" y="48"/>
                </a:cxn>
                <a:cxn ang="0">
                  <a:pos x="396" y="46"/>
                </a:cxn>
                <a:cxn ang="0">
                  <a:pos x="406" y="36"/>
                </a:cxn>
                <a:cxn ang="0">
                  <a:pos x="413" y="22"/>
                </a:cxn>
                <a:cxn ang="0">
                  <a:pos x="418" y="7"/>
                </a:cxn>
                <a:cxn ang="0">
                  <a:pos x="378" y="0"/>
                </a:cxn>
                <a:cxn ang="0">
                  <a:pos x="360" y="19"/>
                </a:cxn>
                <a:cxn ang="0">
                  <a:pos x="343" y="41"/>
                </a:cxn>
                <a:cxn ang="0">
                  <a:pos x="323" y="59"/>
                </a:cxn>
                <a:cxn ang="0">
                  <a:pos x="312" y="65"/>
                </a:cxn>
                <a:cxn ang="0">
                  <a:pos x="298" y="68"/>
                </a:cxn>
                <a:cxn ang="0">
                  <a:pos x="278" y="66"/>
                </a:cxn>
                <a:cxn ang="0">
                  <a:pos x="262" y="63"/>
                </a:cxn>
                <a:cxn ang="0">
                  <a:pos x="239" y="54"/>
                </a:cxn>
                <a:cxn ang="0">
                  <a:pos x="205" y="31"/>
                </a:cxn>
                <a:cxn ang="0">
                  <a:pos x="180" y="29"/>
                </a:cxn>
                <a:cxn ang="0">
                  <a:pos x="150" y="31"/>
                </a:cxn>
                <a:cxn ang="0">
                  <a:pos x="117" y="37"/>
                </a:cxn>
                <a:cxn ang="0">
                  <a:pos x="85" y="45"/>
                </a:cxn>
                <a:cxn ang="0">
                  <a:pos x="54" y="54"/>
                </a:cxn>
                <a:cxn ang="0">
                  <a:pos x="29" y="65"/>
                </a:cxn>
                <a:cxn ang="0">
                  <a:pos x="9" y="77"/>
                </a:cxn>
                <a:cxn ang="0">
                  <a:pos x="0" y="86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9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/>
              <a:ahLst/>
              <a:cxnLst>
                <a:cxn ang="0">
                  <a:pos x="63" y="0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12" y="3"/>
                </a:cxn>
                <a:cxn ang="0">
                  <a:pos x="7" y="8"/>
                </a:cxn>
                <a:cxn ang="0">
                  <a:pos x="7" y="16"/>
                </a:cxn>
                <a:cxn ang="0">
                  <a:pos x="10" y="23"/>
                </a:cxn>
                <a:cxn ang="0">
                  <a:pos x="15" y="32"/>
                </a:cxn>
                <a:cxn ang="0">
                  <a:pos x="14" y="41"/>
                </a:cxn>
                <a:cxn ang="0">
                  <a:pos x="4" y="50"/>
                </a:cxn>
                <a:cxn ang="0">
                  <a:pos x="1" y="57"/>
                </a:cxn>
                <a:cxn ang="0">
                  <a:pos x="2" y="64"/>
                </a:cxn>
                <a:cxn ang="0">
                  <a:pos x="14" y="69"/>
                </a:cxn>
                <a:cxn ang="0">
                  <a:pos x="48" y="76"/>
                </a:cxn>
                <a:cxn ang="0">
                  <a:pos x="109" y="85"/>
                </a:cxn>
                <a:cxn ang="0">
                  <a:pos x="167" y="91"/>
                </a:cxn>
                <a:cxn ang="0">
                  <a:pos x="365" y="92"/>
                </a:cxn>
                <a:cxn ang="0">
                  <a:pos x="374" y="81"/>
                </a:cxn>
                <a:cxn ang="0">
                  <a:pos x="385" y="75"/>
                </a:cxn>
                <a:cxn ang="0">
                  <a:pos x="397" y="73"/>
                </a:cxn>
                <a:cxn ang="0">
                  <a:pos x="411" y="73"/>
                </a:cxn>
                <a:cxn ang="0">
                  <a:pos x="441" y="76"/>
                </a:cxn>
                <a:cxn ang="0">
                  <a:pos x="456" y="76"/>
                </a:cxn>
                <a:cxn ang="0">
                  <a:pos x="472" y="73"/>
                </a:cxn>
                <a:cxn ang="0">
                  <a:pos x="465" y="33"/>
                </a:cxn>
                <a:cxn ang="0">
                  <a:pos x="453" y="26"/>
                </a:cxn>
                <a:cxn ang="0">
                  <a:pos x="443" y="18"/>
                </a:cxn>
                <a:cxn ang="0">
                  <a:pos x="432" y="13"/>
                </a:cxn>
                <a:cxn ang="0">
                  <a:pos x="416" y="12"/>
                </a:cxn>
                <a:cxn ang="0">
                  <a:pos x="396" y="15"/>
                </a:cxn>
                <a:cxn ang="0">
                  <a:pos x="367" y="22"/>
                </a:cxn>
                <a:cxn ang="0">
                  <a:pos x="328" y="33"/>
                </a:cxn>
                <a:cxn ang="0">
                  <a:pos x="298" y="39"/>
                </a:cxn>
                <a:cxn ang="0">
                  <a:pos x="276" y="42"/>
                </a:cxn>
                <a:cxn ang="0">
                  <a:pos x="236" y="42"/>
                </a:cxn>
                <a:cxn ang="0">
                  <a:pos x="191" y="42"/>
                </a:cxn>
                <a:cxn ang="0">
                  <a:pos x="156" y="42"/>
                </a:cxn>
                <a:cxn ang="0">
                  <a:pos x="120" y="42"/>
                </a:cxn>
                <a:cxn ang="0">
                  <a:pos x="91" y="41"/>
                </a:cxn>
                <a:cxn ang="0">
                  <a:pos x="78" y="36"/>
                </a:cxn>
                <a:cxn ang="0">
                  <a:pos x="70" y="27"/>
                </a:cxn>
                <a:cxn ang="0">
                  <a:pos x="67" y="17"/>
                </a:cxn>
                <a:cxn ang="0">
                  <a:pos x="69" y="8"/>
                </a:cxn>
                <a:cxn ang="0">
                  <a:pos x="74" y="2"/>
                </a:cxn>
                <a:cxn ang="0">
                  <a:pos x="74" y="0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0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/>
              <a:ahLst/>
              <a:cxnLst>
                <a:cxn ang="0">
                  <a:pos x="145" y="107"/>
                </a:cxn>
                <a:cxn ang="0">
                  <a:pos x="203" y="97"/>
                </a:cxn>
                <a:cxn ang="0">
                  <a:pos x="262" y="84"/>
                </a:cxn>
                <a:cxn ang="0">
                  <a:pos x="300" y="74"/>
                </a:cxn>
                <a:cxn ang="0">
                  <a:pos x="318" y="66"/>
                </a:cxn>
                <a:cxn ang="0">
                  <a:pos x="322" y="56"/>
                </a:cxn>
                <a:cxn ang="0">
                  <a:pos x="312" y="48"/>
                </a:cxn>
                <a:cxn ang="0">
                  <a:pos x="300" y="41"/>
                </a:cxn>
                <a:cxn ang="0">
                  <a:pos x="286" y="37"/>
                </a:cxn>
                <a:cxn ang="0">
                  <a:pos x="263" y="32"/>
                </a:cxn>
                <a:cxn ang="0">
                  <a:pos x="230" y="30"/>
                </a:cxn>
                <a:cxn ang="0">
                  <a:pos x="209" y="30"/>
                </a:cxn>
                <a:cxn ang="0">
                  <a:pos x="202" y="24"/>
                </a:cxn>
                <a:cxn ang="0">
                  <a:pos x="196" y="17"/>
                </a:cxn>
                <a:cxn ang="0">
                  <a:pos x="191" y="9"/>
                </a:cxn>
                <a:cxn ang="0">
                  <a:pos x="180" y="5"/>
                </a:cxn>
                <a:cxn ang="0">
                  <a:pos x="162" y="1"/>
                </a:cxn>
                <a:cxn ang="0">
                  <a:pos x="135" y="1"/>
                </a:cxn>
                <a:cxn ang="0">
                  <a:pos x="87" y="8"/>
                </a:cxn>
                <a:cxn ang="0">
                  <a:pos x="49" y="17"/>
                </a:cxn>
                <a:cxn ang="0">
                  <a:pos x="27" y="26"/>
                </a:cxn>
                <a:cxn ang="0">
                  <a:pos x="11" y="37"/>
                </a:cxn>
                <a:cxn ang="0">
                  <a:pos x="3" y="46"/>
                </a:cxn>
                <a:cxn ang="0">
                  <a:pos x="1" y="52"/>
                </a:cxn>
                <a:cxn ang="0">
                  <a:pos x="34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8" y="99"/>
                </a:cxn>
                <a:cxn ang="0">
                  <a:pos x="44" y="114"/>
                </a:cxn>
                <a:cxn ang="0">
                  <a:pos x="48" y="128"/>
                </a:cxn>
                <a:cxn ang="0">
                  <a:pos x="55" y="134"/>
                </a:cxn>
                <a:cxn ang="0">
                  <a:pos x="69" y="135"/>
                </a:cxn>
                <a:cxn ang="0">
                  <a:pos x="86" y="131"/>
                </a:cxn>
                <a:cxn ang="0">
                  <a:pos x="101" y="127"/>
                </a:cxn>
                <a:cxn ang="0">
                  <a:pos x="117" y="124"/>
                </a:cxn>
                <a:cxn ang="0">
                  <a:pos x="120" y="11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1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/>
              <a:ahLst/>
              <a:cxnLst>
                <a:cxn ang="0">
                  <a:pos x="46" y="53"/>
                </a:cxn>
                <a:cxn ang="0">
                  <a:pos x="40" y="52"/>
                </a:cxn>
                <a:cxn ang="0">
                  <a:pos x="34" y="49"/>
                </a:cxn>
                <a:cxn ang="0">
                  <a:pos x="26" y="45"/>
                </a:cxn>
                <a:cxn ang="0">
                  <a:pos x="18" y="38"/>
                </a:cxn>
                <a:cxn ang="0">
                  <a:pos x="10" y="31"/>
                </a:cxn>
                <a:cxn ang="0">
                  <a:pos x="5" y="24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1" y="10"/>
                </a:cxn>
                <a:cxn ang="0">
                  <a:pos x="39" y="10"/>
                </a:cxn>
                <a:cxn ang="0">
                  <a:pos x="52" y="10"/>
                </a:cxn>
                <a:cxn ang="0">
                  <a:pos x="59" y="10"/>
                </a:cxn>
                <a:cxn ang="0">
                  <a:pos x="83" y="6"/>
                </a:cxn>
                <a:cxn ang="0">
                  <a:pos x="117" y="0"/>
                </a:cxn>
                <a:cxn ang="0">
                  <a:pos x="125" y="0"/>
                </a:cxn>
                <a:cxn ang="0">
                  <a:pos x="132" y="0"/>
                </a:cxn>
                <a:cxn ang="0">
                  <a:pos x="140" y="0"/>
                </a:cxn>
                <a:cxn ang="0">
                  <a:pos x="147" y="2"/>
                </a:cxn>
                <a:cxn ang="0">
                  <a:pos x="151" y="5"/>
                </a:cxn>
                <a:cxn ang="0">
                  <a:pos x="155" y="9"/>
                </a:cxn>
                <a:cxn ang="0">
                  <a:pos x="158" y="15"/>
                </a:cxn>
                <a:cxn ang="0">
                  <a:pos x="159" y="22"/>
                </a:cxn>
                <a:cxn ang="0">
                  <a:pos x="158" y="30"/>
                </a:cxn>
                <a:cxn ang="0">
                  <a:pos x="155" y="37"/>
                </a:cxn>
                <a:cxn ang="0">
                  <a:pos x="151" y="44"/>
                </a:cxn>
                <a:cxn ang="0">
                  <a:pos x="146" y="48"/>
                </a:cxn>
                <a:cxn ang="0">
                  <a:pos x="139" y="52"/>
                </a:cxn>
                <a:cxn ang="0">
                  <a:pos x="132" y="54"/>
                </a:cxn>
                <a:cxn ang="0">
                  <a:pos x="124" y="55"/>
                </a:cxn>
                <a:cxn ang="0">
                  <a:pos x="115" y="56"/>
                </a:cxn>
                <a:cxn ang="0">
                  <a:pos x="77" y="55"/>
                </a:cxn>
                <a:cxn ang="0">
                  <a:pos x="46" y="53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2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/>
              <a:ahLst/>
              <a:cxnLst>
                <a:cxn ang="0">
                  <a:pos x="2931" y="1362"/>
                </a:cxn>
                <a:cxn ang="0">
                  <a:pos x="2556" y="1522"/>
                </a:cxn>
                <a:cxn ang="0">
                  <a:pos x="2312" y="1592"/>
                </a:cxn>
                <a:cxn ang="0">
                  <a:pos x="2294" y="1634"/>
                </a:cxn>
                <a:cxn ang="0">
                  <a:pos x="2177" y="1607"/>
                </a:cxn>
                <a:cxn ang="0">
                  <a:pos x="2279" y="1512"/>
                </a:cxn>
                <a:cxn ang="0">
                  <a:pos x="2166" y="1416"/>
                </a:cxn>
                <a:cxn ang="0">
                  <a:pos x="2094" y="1295"/>
                </a:cxn>
                <a:cxn ang="0">
                  <a:pos x="1947" y="1317"/>
                </a:cxn>
                <a:cxn ang="0">
                  <a:pos x="1771" y="1281"/>
                </a:cxn>
                <a:cxn ang="0">
                  <a:pos x="261" y="1235"/>
                </a:cxn>
                <a:cxn ang="0">
                  <a:pos x="127" y="1125"/>
                </a:cxn>
                <a:cxn ang="0">
                  <a:pos x="151" y="1040"/>
                </a:cxn>
                <a:cxn ang="0">
                  <a:pos x="147" y="927"/>
                </a:cxn>
                <a:cxn ang="0">
                  <a:pos x="259" y="859"/>
                </a:cxn>
                <a:cxn ang="0">
                  <a:pos x="250" y="747"/>
                </a:cxn>
                <a:cxn ang="0">
                  <a:pos x="128" y="665"/>
                </a:cxn>
                <a:cxn ang="0">
                  <a:pos x="602" y="114"/>
                </a:cxn>
                <a:cxn ang="0">
                  <a:pos x="1146" y="105"/>
                </a:cxn>
                <a:cxn ang="0">
                  <a:pos x="1296" y="117"/>
                </a:cxn>
                <a:cxn ang="0">
                  <a:pos x="1641" y="166"/>
                </a:cxn>
                <a:cxn ang="0">
                  <a:pos x="1771" y="206"/>
                </a:cxn>
                <a:cxn ang="0">
                  <a:pos x="2076" y="193"/>
                </a:cxn>
                <a:cxn ang="0">
                  <a:pos x="2286" y="216"/>
                </a:cxn>
                <a:cxn ang="0">
                  <a:pos x="2365" y="216"/>
                </a:cxn>
                <a:cxn ang="0">
                  <a:pos x="2518" y="123"/>
                </a:cxn>
                <a:cxn ang="0">
                  <a:pos x="2587" y="2"/>
                </a:cxn>
                <a:cxn ang="0">
                  <a:pos x="2644" y="105"/>
                </a:cxn>
                <a:cxn ang="0">
                  <a:pos x="2664" y="166"/>
                </a:cxn>
                <a:cxn ang="0">
                  <a:pos x="2716" y="196"/>
                </a:cxn>
                <a:cxn ang="0">
                  <a:pos x="2891" y="121"/>
                </a:cxn>
                <a:cxn ang="0">
                  <a:pos x="3036" y="135"/>
                </a:cxn>
                <a:cxn ang="0">
                  <a:pos x="2883" y="271"/>
                </a:cxn>
                <a:cxn ang="0">
                  <a:pos x="2790" y="289"/>
                </a:cxn>
                <a:cxn ang="0">
                  <a:pos x="2569" y="304"/>
                </a:cxn>
                <a:cxn ang="0">
                  <a:pos x="2501" y="402"/>
                </a:cxn>
                <a:cxn ang="0">
                  <a:pos x="2333" y="471"/>
                </a:cxn>
                <a:cxn ang="0">
                  <a:pos x="2087" y="625"/>
                </a:cxn>
                <a:cxn ang="0">
                  <a:pos x="2106" y="793"/>
                </a:cxn>
                <a:cxn ang="0">
                  <a:pos x="2360" y="907"/>
                </a:cxn>
                <a:cxn ang="0">
                  <a:pos x="2443" y="1059"/>
                </a:cxn>
                <a:cxn ang="0">
                  <a:pos x="2614" y="987"/>
                </a:cxn>
                <a:cxn ang="0">
                  <a:pos x="2848" y="785"/>
                </a:cxn>
                <a:cxn ang="0">
                  <a:pos x="2896" y="597"/>
                </a:cxn>
                <a:cxn ang="0">
                  <a:pos x="3156" y="500"/>
                </a:cxn>
                <a:cxn ang="0">
                  <a:pos x="3276" y="592"/>
                </a:cxn>
                <a:cxn ang="0">
                  <a:pos x="3226" y="736"/>
                </a:cxn>
                <a:cxn ang="0">
                  <a:pos x="3492" y="613"/>
                </a:cxn>
                <a:cxn ang="0">
                  <a:pos x="3545" y="774"/>
                </a:cxn>
                <a:cxn ang="0">
                  <a:pos x="3662" y="924"/>
                </a:cxn>
                <a:cxn ang="0">
                  <a:pos x="3616" y="961"/>
                </a:cxn>
                <a:cxn ang="0">
                  <a:pos x="3694" y="1028"/>
                </a:cxn>
                <a:cxn ang="0">
                  <a:pos x="3556" y="1108"/>
                </a:cxn>
                <a:cxn ang="0">
                  <a:pos x="3151" y="1168"/>
                </a:cxn>
                <a:cxn ang="0">
                  <a:pos x="2853" y="1335"/>
                </a:cxn>
                <a:cxn ang="0">
                  <a:pos x="2905" y="1337"/>
                </a:cxn>
                <a:cxn ang="0">
                  <a:pos x="3216" y="1256"/>
                </a:cxn>
                <a:cxn ang="0">
                  <a:pos x="3066" y="1298"/>
                </a:cxn>
                <a:cxn ang="0">
                  <a:pos x="3138" y="1391"/>
                </a:cxn>
                <a:cxn ang="0">
                  <a:pos x="3248" y="1473"/>
                </a:cxn>
                <a:cxn ang="0">
                  <a:pos x="3018" y="1564"/>
                </a:cxn>
                <a:cxn ang="0">
                  <a:pos x="3189" y="1466"/>
                </a:cxn>
                <a:cxn ang="0">
                  <a:pos x="3016" y="1484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33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5153278" y="3852393"/>
            <a:ext cx="127000" cy="158751"/>
          </a:xfrm>
          <a:custGeom>
            <a:avLst/>
            <a:gdLst/>
            <a:ahLst/>
            <a:cxnLst>
              <a:cxn ang="0">
                <a:pos x="265" y="10"/>
              </a:cxn>
              <a:cxn ang="0">
                <a:pos x="276" y="37"/>
              </a:cxn>
              <a:cxn ang="0">
                <a:pos x="286" y="91"/>
              </a:cxn>
              <a:cxn ang="0">
                <a:pos x="292" y="144"/>
              </a:cxn>
              <a:cxn ang="0">
                <a:pos x="291" y="161"/>
              </a:cxn>
              <a:cxn ang="0">
                <a:pos x="286" y="179"/>
              </a:cxn>
              <a:cxn ang="0">
                <a:pos x="269" y="206"/>
              </a:cxn>
              <a:cxn ang="0">
                <a:pos x="231" y="185"/>
              </a:cxn>
              <a:cxn ang="0">
                <a:pos x="165" y="258"/>
              </a:cxn>
              <a:cxn ang="0">
                <a:pos x="132" y="278"/>
              </a:cxn>
              <a:cxn ang="0">
                <a:pos x="59" y="296"/>
              </a:cxn>
              <a:cxn ang="0">
                <a:pos x="32" y="308"/>
              </a:cxn>
              <a:cxn ang="0">
                <a:pos x="6" y="308"/>
              </a:cxn>
              <a:cxn ang="0">
                <a:pos x="9" y="297"/>
              </a:cxn>
              <a:cxn ang="0">
                <a:pos x="11" y="286"/>
              </a:cxn>
              <a:cxn ang="0">
                <a:pos x="7" y="265"/>
              </a:cxn>
              <a:cxn ang="0">
                <a:pos x="2" y="246"/>
              </a:cxn>
              <a:cxn ang="0">
                <a:pos x="0" y="228"/>
              </a:cxn>
              <a:cxn ang="0">
                <a:pos x="3" y="205"/>
              </a:cxn>
              <a:cxn ang="0">
                <a:pos x="12" y="188"/>
              </a:cxn>
              <a:cxn ang="0">
                <a:pos x="26" y="174"/>
              </a:cxn>
              <a:cxn ang="0">
                <a:pos x="42" y="161"/>
              </a:cxn>
              <a:cxn ang="0">
                <a:pos x="77" y="135"/>
              </a:cxn>
              <a:cxn ang="0">
                <a:pos x="93" y="119"/>
              </a:cxn>
              <a:cxn ang="0">
                <a:pos x="105" y="98"/>
              </a:cxn>
              <a:cxn ang="0">
                <a:pos x="98" y="96"/>
              </a:cxn>
              <a:cxn ang="0">
                <a:pos x="92" y="91"/>
              </a:cxn>
              <a:cxn ang="0">
                <a:pos x="82" y="73"/>
              </a:cxn>
              <a:cxn ang="0">
                <a:pos x="74" y="50"/>
              </a:cxn>
              <a:cxn ang="0">
                <a:pos x="72" y="24"/>
              </a:cxn>
              <a:cxn ang="0">
                <a:pos x="90" y="19"/>
              </a:cxn>
              <a:cxn ang="0">
                <a:pos x="105" y="20"/>
              </a:cxn>
              <a:cxn ang="0">
                <a:pos x="132" y="24"/>
              </a:cxn>
              <a:cxn ang="0">
                <a:pos x="169" y="21"/>
              </a:cxn>
              <a:cxn ang="0">
                <a:pos x="210" y="12"/>
              </a:cxn>
              <a:cxn ang="0">
                <a:pos x="259" y="0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4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259639" y="4003205"/>
            <a:ext cx="6350" cy="57151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3" y="3"/>
              </a:cxn>
              <a:cxn ang="0">
                <a:pos x="14" y="7"/>
              </a:cxn>
              <a:cxn ang="0">
                <a:pos x="0" y="7"/>
              </a:cxn>
              <a:cxn ang="0">
                <a:pos x="11" y="0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5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750064" y="3239618"/>
            <a:ext cx="249237" cy="500063"/>
          </a:xfrm>
          <a:custGeom>
            <a:avLst/>
            <a:gdLst/>
            <a:ahLst/>
            <a:cxnLst>
              <a:cxn ang="0">
                <a:pos x="81" y="115"/>
              </a:cxn>
              <a:cxn ang="0">
                <a:pos x="104" y="152"/>
              </a:cxn>
              <a:cxn ang="0">
                <a:pos x="111" y="180"/>
              </a:cxn>
              <a:cxn ang="0">
                <a:pos x="95" y="234"/>
              </a:cxn>
              <a:cxn ang="0">
                <a:pos x="96" y="325"/>
              </a:cxn>
              <a:cxn ang="0">
                <a:pos x="93" y="363"/>
              </a:cxn>
              <a:cxn ang="0">
                <a:pos x="82" y="396"/>
              </a:cxn>
              <a:cxn ang="0">
                <a:pos x="59" y="429"/>
              </a:cxn>
              <a:cxn ang="0">
                <a:pos x="31" y="461"/>
              </a:cxn>
              <a:cxn ang="0">
                <a:pos x="17" y="481"/>
              </a:cxn>
              <a:cxn ang="0">
                <a:pos x="2" y="542"/>
              </a:cxn>
              <a:cxn ang="0">
                <a:pos x="69" y="616"/>
              </a:cxn>
              <a:cxn ang="0">
                <a:pos x="69" y="634"/>
              </a:cxn>
              <a:cxn ang="0">
                <a:pos x="74" y="665"/>
              </a:cxn>
              <a:cxn ang="0">
                <a:pos x="74" y="696"/>
              </a:cxn>
              <a:cxn ang="0">
                <a:pos x="78" y="733"/>
              </a:cxn>
              <a:cxn ang="0">
                <a:pos x="94" y="778"/>
              </a:cxn>
              <a:cxn ang="0">
                <a:pos x="105" y="792"/>
              </a:cxn>
              <a:cxn ang="0">
                <a:pos x="68" y="794"/>
              </a:cxn>
              <a:cxn ang="0">
                <a:pos x="42" y="802"/>
              </a:cxn>
              <a:cxn ang="0">
                <a:pos x="36" y="812"/>
              </a:cxn>
              <a:cxn ang="0">
                <a:pos x="42" y="842"/>
              </a:cxn>
              <a:cxn ang="0">
                <a:pos x="69" y="876"/>
              </a:cxn>
              <a:cxn ang="0">
                <a:pos x="87" y="899"/>
              </a:cxn>
              <a:cxn ang="0">
                <a:pos x="100" y="927"/>
              </a:cxn>
              <a:cxn ang="0">
                <a:pos x="156" y="955"/>
              </a:cxn>
              <a:cxn ang="0">
                <a:pos x="189" y="942"/>
              </a:cxn>
              <a:cxn ang="0">
                <a:pos x="248" y="929"/>
              </a:cxn>
              <a:cxn ang="0">
                <a:pos x="279" y="921"/>
              </a:cxn>
              <a:cxn ang="0">
                <a:pos x="297" y="904"/>
              </a:cxn>
              <a:cxn ang="0">
                <a:pos x="302" y="892"/>
              </a:cxn>
              <a:cxn ang="0">
                <a:pos x="302" y="868"/>
              </a:cxn>
              <a:cxn ang="0">
                <a:pos x="338" y="871"/>
              </a:cxn>
              <a:cxn ang="0">
                <a:pos x="367" y="866"/>
              </a:cxn>
              <a:cxn ang="0">
                <a:pos x="389" y="856"/>
              </a:cxn>
              <a:cxn ang="0">
                <a:pos x="405" y="842"/>
              </a:cxn>
              <a:cxn ang="0">
                <a:pos x="432" y="807"/>
              </a:cxn>
              <a:cxn ang="0">
                <a:pos x="460" y="773"/>
              </a:cxn>
              <a:cxn ang="0">
                <a:pos x="477" y="760"/>
              </a:cxn>
              <a:cxn ang="0">
                <a:pos x="502" y="752"/>
              </a:cxn>
              <a:cxn ang="0">
                <a:pos x="521" y="745"/>
              </a:cxn>
              <a:cxn ang="0">
                <a:pos x="499" y="697"/>
              </a:cxn>
              <a:cxn ang="0">
                <a:pos x="484" y="653"/>
              </a:cxn>
              <a:cxn ang="0">
                <a:pos x="472" y="623"/>
              </a:cxn>
              <a:cxn ang="0">
                <a:pos x="481" y="610"/>
              </a:cxn>
              <a:cxn ang="0">
                <a:pos x="487" y="579"/>
              </a:cxn>
              <a:cxn ang="0">
                <a:pos x="494" y="541"/>
              </a:cxn>
              <a:cxn ang="0">
                <a:pos x="505" y="519"/>
              </a:cxn>
              <a:cxn ang="0">
                <a:pos x="532" y="486"/>
              </a:cxn>
              <a:cxn ang="0">
                <a:pos x="570" y="461"/>
              </a:cxn>
              <a:cxn ang="0">
                <a:pos x="129" y="0"/>
              </a:cxn>
              <a:cxn ang="0">
                <a:pos x="98" y="5"/>
              </a:cxn>
              <a:cxn ang="0">
                <a:pos x="69" y="24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6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426201" y="2622079"/>
            <a:ext cx="15875" cy="57151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0" y="18"/>
              </a:cxn>
              <a:cxn ang="0">
                <a:pos x="23" y="36"/>
              </a:cxn>
              <a:cxn ang="0">
                <a:pos x="45" y="15"/>
              </a:cxn>
              <a:cxn ang="0">
                <a:pos x="26" y="0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37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725995" y="4682681"/>
            <a:ext cx="384175" cy="1031875"/>
            <a:chOff x="1589" y="3126"/>
            <a:chExt cx="290" cy="657"/>
          </a:xfrm>
        </p:grpSpPr>
        <p:sp>
          <p:nvSpPr>
            <p:cNvPr id="438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9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0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41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435858" y="2634779"/>
            <a:ext cx="123825" cy="109539"/>
          </a:xfrm>
          <a:custGeom>
            <a:avLst/>
            <a:gdLst/>
            <a:ahLst/>
            <a:cxnLst>
              <a:cxn ang="0">
                <a:pos x="33" y="87"/>
              </a:cxn>
              <a:cxn ang="0">
                <a:pos x="59" y="142"/>
              </a:cxn>
              <a:cxn ang="0">
                <a:pos x="59" y="179"/>
              </a:cxn>
              <a:cxn ang="0">
                <a:pos x="102" y="196"/>
              </a:cxn>
              <a:cxn ang="0">
                <a:pos x="122" y="202"/>
              </a:cxn>
              <a:cxn ang="0">
                <a:pos x="139" y="204"/>
              </a:cxn>
              <a:cxn ang="0">
                <a:pos x="146" y="201"/>
              </a:cxn>
              <a:cxn ang="0">
                <a:pos x="151" y="194"/>
              </a:cxn>
              <a:cxn ang="0">
                <a:pos x="160" y="172"/>
              </a:cxn>
              <a:cxn ang="0">
                <a:pos x="172" y="149"/>
              </a:cxn>
              <a:cxn ang="0">
                <a:pos x="181" y="141"/>
              </a:cxn>
              <a:cxn ang="0">
                <a:pos x="192" y="136"/>
              </a:cxn>
              <a:cxn ang="0">
                <a:pos x="209" y="138"/>
              </a:cxn>
              <a:cxn ang="0">
                <a:pos x="220" y="142"/>
              </a:cxn>
              <a:cxn ang="0">
                <a:pos x="228" y="148"/>
              </a:cxn>
              <a:cxn ang="0">
                <a:pos x="231" y="154"/>
              </a:cxn>
              <a:cxn ang="0">
                <a:pos x="234" y="164"/>
              </a:cxn>
              <a:cxn ang="0">
                <a:pos x="231" y="167"/>
              </a:cxn>
              <a:cxn ang="0">
                <a:pos x="234" y="153"/>
              </a:cxn>
              <a:cxn ang="0">
                <a:pos x="238" y="140"/>
              </a:cxn>
              <a:cxn ang="0">
                <a:pos x="245" y="117"/>
              </a:cxn>
              <a:cxn ang="0">
                <a:pos x="254" y="115"/>
              </a:cxn>
              <a:cxn ang="0">
                <a:pos x="264" y="110"/>
              </a:cxn>
              <a:cxn ang="0">
                <a:pos x="279" y="99"/>
              </a:cxn>
              <a:cxn ang="0">
                <a:pos x="252" y="75"/>
              </a:cxn>
              <a:cxn ang="0">
                <a:pos x="227" y="58"/>
              </a:cxn>
              <a:cxn ang="0">
                <a:pos x="204" y="44"/>
              </a:cxn>
              <a:cxn ang="0">
                <a:pos x="185" y="31"/>
              </a:cxn>
              <a:cxn ang="0">
                <a:pos x="146" y="68"/>
              </a:cxn>
              <a:cxn ang="0">
                <a:pos x="79" y="25"/>
              </a:cxn>
              <a:cxn ang="0">
                <a:pos x="52" y="12"/>
              </a:cxn>
              <a:cxn ang="0">
                <a:pos x="46" y="62"/>
              </a:cxn>
              <a:cxn ang="0">
                <a:pos x="0" y="56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2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902451" y="2207743"/>
            <a:ext cx="209550" cy="150812"/>
          </a:xfrm>
          <a:custGeom>
            <a:avLst/>
            <a:gdLst/>
            <a:ahLst/>
            <a:cxnLst>
              <a:cxn ang="0">
                <a:pos x="252" y="20"/>
              </a:cxn>
              <a:cxn ang="0">
                <a:pos x="300" y="44"/>
              </a:cxn>
              <a:cxn ang="0">
                <a:pos x="372" y="44"/>
              </a:cxn>
              <a:cxn ang="0">
                <a:pos x="425" y="131"/>
              </a:cxn>
              <a:cxn ang="0">
                <a:pos x="485" y="167"/>
              </a:cxn>
              <a:cxn ang="0">
                <a:pos x="412" y="173"/>
              </a:cxn>
              <a:cxn ang="0">
                <a:pos x="433" y="210"/>
              </a:cxn>
              <a:cxn ang="0">
                <a:pos x="392" y="241"/>
              </a:cxn>
              <a:cxn ang="0">
                <a:pos x="385" y="291"/>
              </a:cxn>
              <a:cxn ang="0">
                <a:pos x="285" y="266"/>
              </a:cxn>
              <a:cxn ang="0">
                <a:pos x="173" y="254"/>
              </a:cxn>
              <a:cxn ang="0">
                <a:pos x="60" y="266"/>
              </a:cxn>
              <a:cxn ang="0">
                <a:pos x="15" y="271"/>
              </a:cxn>
              <a:cxn ang="0">
                <a:pos x="8" y="257"/>
              </a:cxn>
              <a:cxn ang="0">
                <a:pos x="3" y="244"/>
              </a:cxn>
              <a:cxn ang="0">
                <a:pos x="0" y="229"/>
              </a:cxn>
              <a:cxn ang="0">
                <a:pos x="5" y="219"/>
              </a:cxn>
              <a:cxn ang="0">
                <a:pos x="14" y="207"/>
              </a:cxn>
              <a:cxn ang="0">
                <a:pos x="23" y="189"/>
              </a:cxn>
              <a:cxn ang="0">
                <a:pos x="31" y="166"/>
              </a:cxn>
              <a:cxn ang="0">
                <a:pos x="41" y="137"/>
              </a:cxn>
              <a:cxn ang="0">
                <a:pos x="48" y="126"/>
              </a:cxn>
              <a:cxn ang="0">
                <a:pos x="60" y="119"/>
              </a:cxn>
              <a:cxn ang="0">
                <a:pos x="87" y="111"/>
              </a:cxn>
              <a:cxn ang="0">
                <a:pos x="89" y="106"/>
              </a:cxn>
              <a:cxn ang="0">
                <a:pos x="94" y="100"/>
              </a:cxn>
              <a:cxn ang="0">
                <a:pos x="101" y="95"/>
              </a:cxn>
              <a:cxn ang="0">
                <a:pos x="106" y="93"/>
              </a:cxn>
              <a:cxn ang="0">
                <a:pos x="106" y="76"/>
              </a:cxn>
              <a:cxn ang="0">
                <a:pos x="109" y="70"/>
              </a:cxn>
              <a:cxn ang="0">
                <a:pos x="113" y="67"/>
              </a:cxn>
              <a:cxn ang="0">
                <a:pos x="122" y="69"/>
              </a:cxn>
              <a:cxn ang="0">
                <a:pos x="128" y="69"/>
              </a:cxn>
              <a:cxn ang="0">
                <a:pos x="132" y="66"/>
              </a:cxn>
              <a:cxn ang="0">
                <a:pos x="134" y="56"/>
              </a:cxn>
              <a:cxn ang="0">
                <a:pos x="139" y="44"/>
              </a:cxn>
              <a:cxn ang="0">
                <a:pos x="144" y="39"/>
              </a:cxn>
              <a:cxn ang="0">
                <a:pos x="213" y="0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3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759575" y="2539557"/>
            <a:ext cx="82550" cy="87313"/>
          </a:xfrm>
          <a:custGeom>
            <a:avLst/>
            <a:gdLst/>
            <a:ahLst/>
            <a:cxnLst>
              <a:cxn ang="0">
                <a:pos x="86" y="147"/>
              </a:cxn>
              <a:cxn ang="0">
                <a:pos x="83" y="136"/>
              </a:cxn>
              <a:cxn ang="0">
                <a:pos x="78" y="127"/>
              </a:cxn>
              <a:cxn ang="0">
                <a:pos x="74" y="118"/>
              </a:cxn>
              <a:cxn ang="0">
                <a:pos x="70" y="110"/>
              </a:cxn>
              <a:cxn ang="0">
                <a:pos x="60" y="95"/>
              </a:cxn>
              <a:cxn ang="0">
                <a:pos x="49" y="82"/>
              </a:cxn>
              <a:cxn ang="0">
                <a:pos x="37" y="70"/>
              </a:cxn>
              <a:cxn ang="0">
                <a:pos x="25" y="56"/>
              </a:cxn>
              <a:cxn ang="0">
                <a:pos x="13" y="38"/>
              </a:cxn>
              <a:cxn ang="0">
                <a:pos x="0" y="18"/>
              </a:cxn>
              <a:cxn ang="0">
                <a:pos x="0" y="0"/>
              </a:cxn>
              <a:cxn ang="0">
                <a:pos x="7" y="2"/>
              </a:cxn>
              <a:cxn ang="0">
                <a:pos x="14" y="3"/>
              </a:cxn>
              <a:cxn ang="0">
                <a:pos x="20" y="4"/>
              </a:cxn>
              <a:cxn ang="0">
                <a:pos x="27" y="4"/>
              </a:cxn>
              <a:cxn ang="0">
                <a:pos x="33" y="4"/>
              </a:cxn>
              <a:cxn ang="0">
                <a:pos x="40" y="3"/>
              </a:cxn>
              <a:cxn ang="0">
                <a:pos x="47" y="2"/>
              </a:cxn>
              <a:cxn ang="0">
                <a:pos x="53" y="0"/>
              </a:cxn>
              <a:cxn ang="0">
                <a:pos x="140" y="12"/>
              </a:cxn>
              <a:cxn ang="0">
                <a:pos x="186" y="91"/>
              </a:cxn>
              <a:cxn ang="0">
                <a:pos x="171" y="112"/>
              </a:cxn>
              <a:cxn ang="0">
                <a:pos x="155" y="129"/>
              </a:cxn>
              <a:cxn ang="0">
                <a:pos x="149" y="137"/>
              </a:cxn>
              <a:cxn ang="0">
                <a:pos x="144" y="145"/>
              </a:cxn>
              <a:cxn ang="0">
                <a:pos x="142" y="150"/>
              </a:cxn>
              <a:cxn ang="0">
                <a:pos x="141" y="156"/>
              </a:cxn>
              <a:cxn ang="0">
                <a:pos x="140" y="161"/>
              </a:cxn>
              <a:cxn ang="0">
                <a:pos x="140" y="166"/>
              </a:cxn>
              <a:cxn ang="0">
                <a:pos x="86" y="147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4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3124451" y="3976218"/>
            <a:ext cx="82550" cy="57151"/>
          </a:xfrm>
          <a:custGeom>
            <a:avLst/>
            <a:gdLst/>
            <a:ahLst/>
            <a:cxnLst>
              <a:cxn ang="0">
                <a:pos x="153" y="21"/>
              </a:cxn>
              <a:cxn ang="0">
                <a:pos x="146" y="21"/>
              </a:cxn>
              <a:cxn ang="0">
                <a:pos x="141" y="20"/>
              </a:cxn>
              <a:cxn ang="0">
                <a:pos x="136" y="18"/>
              </a:cxn>
              <a:cxn ang="0">
                <a:pos x="133" y="15"/>
              </a:cxn>
              <a:cxn ang="0">
                <a:pos x="130" y="13"/>
              </a:cxn>
              <a:cxn ang="0">
                <a:pos x="125" y="11"/>
              </a:cxn>
              <a:cxn ang="0">
                <a:pos x="120" y="10"/>
              </a:cxn>
              <a:cxn ang="0">
                <a:pos x="113" y="9"/>
              </a:cxn>
              <a:cxn ang="0">
                <a:pos x="100" y="8"/>
              </a:cxn>
              <a:cxn ang="0">
                <a:pos x="88" y="6"/>
              </a:cxn>
              <a:cxn ang="0">
                <a:pos x="75" y="3"/>
              </a:cxn>
              <a:cxn ang="0">
                <a:pos x="64" y="1"/>
              </a:cxn>
              <a:cxn ang="0">
                <a:pos x="60" y="0"/>
              </a:cxn>
              <a:cxn ang="0">
                <a:pos x="54" y="0"/>
              </a:cxn>
              <a:cxn ang="0">
                <a:pos x="51" y="1"/>
              </a:cxn>
              <a:cxn ang="0">
                <a:pos x="46" y="2"/>
              </a:cxn>
              <a:cxn ang="0">
                <a:pos x="44" y="4"/>
              </a:cxn>
              <a:cxn ang="0">
                <a:pos x="42" y="6"/>
              </a:cxn>
              <a:cxn ang="0">
                <a:pos x="41" y="10"/>
              </a:cxn>
              <a:cxn ang="0">
                <a:pos x="40" y="15"/>
              </a:cxn>
              <a:cxn ang="0">
                <a:pos x="34" y="27"/>
              </a:cxn>
              <a:cxn ang="0">
                <a:pos x="20" y="47"/>
              </a:cxn>
              <a:cxn ang="0">
                <a:pos x="7" y="66"/>
              </a:cxn>
              <a:cxn ang="0">
                <a:pos x="0" y="77"/>
              </a:cxn>
              <a:cxn ang="0">
                <a:pos x="8" y="77"/>
              </a:cxn>
              <a:cxn ang="0">
                <a:pos x="16" y="78"/>
              </a:cxn>
              <a:cxn ang="0">
                <a:pos x="21" y="79"/>
              </a:cxn>
              <a:cxn ang="0">
                <a:pos x="25" y="81"/>
              </a:cxn>
              <a:cxn ang="0">
                <a:pos x="33" y="85"/>
              </a:cxn>
              <a:cxn ang="0">
                <a:pos x="40" y="89"/>
              </a:cxn>
              <a:cxn ang="0">
                <a:pos x="45" y="94"/>
              </a:cxn>
              <a:cxn ang="0">
                <a:pos x="52" y="98"/>
              </a:cxn>
              <a:cxn ang="0">
                <a:pos x="56" y="100"/>
              </a:cxn>
              <a:cxn ang="0">
                <a:pos x="61" y="101"/>
              </a:cxn>
              <a:cxn ang="0">
                <a:pos x="66" y="102"/>
              </a:cxn>
              <a:cxn ang="0">
                <a:pos x="74" y="102"/>
              </a:cxn>
              <a:cxn ang="0">
                <a:pos x="107" y="103"/>
              </a:cxn>
              <a:cxn ang="0">
                <a:pos x="131" y="104"/>
              </a:cxn>
              <a:cxn ang="0">
                <a:pos x="135" y="103"/>
              </a:cxn>
              <a:cxn ang="0">
                <a:pos x="139" y="102"/>
              </a:cxn>
              <a:cxn ang="0">
                <a:pos x="142" y="100"/>
              </a:cxn>
              <a:cxn ang="0">
                <a:pos x="145" y="97"/>
              </a:cxn>
              <a:cxn ang="0">
                <a:pos x="147" y="94"/>
              </a:cxn>
              <a:cxn ang="0">
                <a:pos x="150" y="88"/>
              </a:cxn>
              <a:cxn ang="0">
                <a:pos x="152" y="83"/>
              </a:cxn>
              <a:cxn ang="0">
                <a:pos x="153" y="77"/>
              </a:cxn>
              <a:cxn ang="0">
                <a:pos x="186" y="27"/>
              </a:cxn>
              <a:cxn ang="0">
                <a:pos x="153" y="21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5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918327" y="2574454"/>
            <a:ext cx="133350" cy="96839"/>
          </a:xfrm>
          <a:custGeom>
            <a:avLst/>
            <a:gdLst/>
            <a:ahLst/>
            <a:cxnLst>
              <a:cxn ang="0">
                <a:pos x="79" y="38"/>
              </a:cxn>
              <a:cxn ang="0">
                <a:pos x="115" y="26"/>
              </a:cxn>
              <a:cxn ang="0">
                <a:pos x="148" y="14"/>
              </a:cxn>
              <a:cxn ang="0">
                <a:pos x="178" y="4"/>
              </a:cxn>
              <a:cxn ang="0">
                <a:pos x="211" y="0"/>
              </a:cxn>
              <a:cxn ang="0">
                <a:pos x="236" y="2"/>
              </a:cxn>
              <a:cxn ang="0">
                <a:pos x="256" y="6"/>
              </a:cxn>
              <a:cxn ang="0">
                <a:pos x="292" y="12"/>
              </a:cxn>
              <a:cxn ang="0">
                <a:pos x="287" y="28"/>
              </a:cxn>
              <a:cxn ang="0">
                <a:pos x="278" y="42"/>
              </a:cxn>
              <a:cxn ang="0">
                <a:pos x="269" y="53"/>
              </a:cxn>
              <a:cxn ang="0">
                <a:pos x="265" y="62"/>
              </a:cxn>
              <a:cxn ang="0">
                <a:pos x="266" y="66"/>
              </a:cxn>
              <a:cxn ang="0">
                <a:pos x="271" y="71"/>
              </a:cxn>
              <a:cxn ang="0">
                <a:pos x="285" y="79"/>
              </a:cxn>
              <a:cxn ang="0">
                <a:pos x="311" y="93"/>
              </a:cxn>
              <a:cxn ang="0">
                <a:pos x="287" y="107"/>
              </a:cxn>
              <a:cxn ang="0">
                <a:pos x="281" y="115"/>
              </a:cxn>
              <a:cxn ang="0">
                <a:pos x="278" y="129"/>
              </a:cxn>
              <a:cxn ang="0">
                <a:pos x="252" y="136"/>
              </a:cxn>
              <a:cxn ang="0">
                <a:pos x="211" y="148"/>
              </a:cxn>
              <a:cxn ang="0">
                <a:pos x="191" y="168"/>
              </a:cxn>
              <a:cxn ang="0">
                <a:pos x="178" y="176"/>
              </a:cxn>
              <a:cxn ang="0">
                <a:pos x="165" y="179"/>
              </a:cxn>
              <a:cxn ang="0">
                <a:pos x="151" y="175"/>
              </a:cxn>
              <a:cxn ang="0">
                <a:pos x="137" y="167"/>
              </a:cxn>
              <a:cxn ang="0">
                <a:pos x="120" y="158"/>
              </a:cxn>
              <a:cxn ang="0">
                <a:pos x="98" y="155"/>
              </a:cxn>
              <a:cxn ang="0">
                <a:pos x="66" y="155"/>
              </a:cxn>
              <a:cxn ang="0">
                <a:pos x="51" y="157"/>
              </a:cxn>
              <a:cxn ang="0">
                <a:pos x="39" y="161"/>
              </a:cxn>
              <a:cxn ang="0">
                <a:pos x="36" y="142"/>
              </a:cxn>
              <a:cxn ang="0">
                <a:pos x="32" y="123"/>
              </a:cxn>
              <a:cxn ang="0">
                <a:pos x="21" y="128"/>
              </a:cxn>
              <a:cxn ang="0">
                <a:pos x="13" y="129"/>
              </a:cxn>
              <a:cxn ang="0">
                <a:pos x="7" y="126"/>
              </a:cxn>
              <a:cxn ang="0">
                <a:pos x="3" y="121"/>
              </a:cxn>
              <a:cxn ang="0">
                <a:pos x="0" y="105"/>
              </a:cxn>
              <a:cxn ang="0">
                <a:pos x="0" y="87"/>
              </a:cxn>
              <a:cxn ang="0">
                <a:pos x="3" y="82"/>
              </a:cxn>
              <a:cxn ang="0">
                <a:pos x="13" y="78"/>
              </a:cxn>
              <a:cxn ang="0">
                <a:pos x="21" y="72"/>
              </a:cxn>
              <a:cxn ang="0">
                <a:pos x="25" y="68"/>
              </a:cxn>
              <a:cxn ang="0">
                <a:pos x="26" y="62"/>
              </a:cxn>
              <a:cxn ang="0">
                <a:pos x="24" y="51"/>
              </a:cxn>
              <a:cxn ang="0">
                <a:pos x="19" y="43"/>
              </a:cxn>
              <a:cxn ang="0">
                <a:pos x="8" y="29"/>
              </a:cxn>
              <a:cxn ang="0">
                <a:pos x="1" y="18"/>
              </a:cxn>
              <a:cxn ang="0">
                <a:pos x="1" y="13"/>
              </a:cxn>
              <a:cxn ang="0">
                <a:pos x="6" y="6"/>
              </a:cxn>
              <a:cxn ang="0">
                <a:pos x="0" y="6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6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273802" y="3501555"/>
            <a:ext cx="177800" cy="165100"/>
          </a:xfrm>
          <a:custGeom>
            <a:avLst/>
            <a:gdLst/>
            <a:ahLst/>
            <a:cxnLst>
              <a:cxn ang="0">
                <a:pos x="6" y="260"/>
              </a:cxn>
              <a:cxn ang="0">
                <a:pos x="13" y="237"/>
              </a:cxn>
              <a:cxn ang="0">
                <a:pos x="17" y="202"/>
              </a:cxn>
              <a:cxn ang="0">
                <a:pos x="23" y="173"/>
              </a:cxn>
              <a:cxn ang="0">
                <a:pos x="32" y="162"/>
              </a:cxn>
              <a:cxn ang="0">
                <a:pos x="48" y="150"/>
              </a:cxn>
              <a:cxn ang="0">
                <a:pos x="72" y="141"/>
              </a:cxn>
              <a:cxn ang="0">
                <a:pos x="93" y="134"/>
              </a:cxn>
              <a:cxn ang="0">
                <a:pos x="104" y="125"/>
              </a:cxn>
              <a:cxn ang="0">
                <a:pos x="113" y="114"/>
              </a:cxn>
              <a:cxn ang="0">
                <a:pos x="123" y="93"/>
              </a:cxn>
              <a:cxn ang="0">
                <a:pos x="136" y="69"/>
              </a:cxn>
              <a:cxn ang="0">
                <a:pos x="147" y="55"/>
              </a:cxn>
              <a:cxn ang="0">
                <a:pos x="155" y="51"/>
              </a:cxn>
              <a:cxn ang="0">
                <a:pos x="170" y="51"/>
              </a:cxn>
              <a:cxn ang="0">
                <a:pos x="189" y="48"/>
              </a:cxn>
              <a:cxn ang="0">
                <a:pos x="213" y="35"/>
              </a:cxn>
              <a:cxn ang="0">
                <a:pos x="237" y="20"/>
              </a:cxn>
              <a:cxn ang="0">
                <a:pos x="257" y="11"/>
              </a:cxn>
              <a:cxn ang="0">
                <a:pos x="282" y="4"/>
              </a:cxn>
              <a:cxn ang="0">
                <a:pos x="314" y="0"/>
              </a:cxn>
              <a:cxn ang="0">
                <a:pos x="332" y="14"/>
              </a:cxn>
              <a:cxn ang="0">
                <a:pos x="337" y="34"/>
              </a:cxn>
              <a:cxn ang="0">
                <a:pos x="343" y="50"/>
              </a:cxn>
              <a:cxn ang="0">
                <a:pos x="352" y="62"/>
              </a:cxn>
              <a:cxn ang="0">
                <a:pos x="368" y="74"/>
              </a:cxn>
              <a:cxn ang="0">
                <a:pos x="382" y="85"/>
              </a:cxn>
              <a:cxn ang="0">
                <a:pos x="390" y="93"/>
              </a:cxn>
              <a:cxn ang="0">
                <a:pos x="396" y="115"/>
              </a:cxn>
              <a:cxn ang="0">
                <a:pos x="398" y="143"/>
              </a:cxn>
              <a:cxn ang="0">
                <a:pos x="398" y="170"/>
              </a:cxn>
              <a:cxn ang="0">
                <a:pos x="402" y="196"/>
              </a:cxn>
              <a:cxn ang="0">
                <a:pos x="398" y="217"/>
              </a:cxn>
              <a:cxn ang="0">
                <a:pos x="382" y="226"/>
              </a:cxn>
              <a:cxn ang="0">
                <a:pos x="365" y="241"/>
              </a:cxn>
              <a:cxn ang="0">
                <a:pos x="363" y="237"/>
              </a:cxn>
              <a:cxn ang="0">
                <a:pos x="358" y="233"/>
              </a:cxn>
              <a:cxn ang="0">
                <a:pos x="342" y="227"/>
              </a:cxn>
              <a:cxn ang="0">
                <a:pos x="319" y="223"/>
              </a:cxn>
              <a:cxn ang="0">
                <a:pos x="152" y="241"/>
              </a:cxn>
              <a:cxn ang="0">
                <a:pos x="150" y="257"/>
              </a:cxn>
              <a:cxn ang="0">
                <a:pos x="150" y="274"/>
              </a:cxn>
              <a:cxn ang="0">
                <a:pos x="152" y="314"/>
              </a:cxn>
              <a:cxn ang="0">
                <a:pos x="139" y="312"/>
              </a:cxn>
              <a:cxn ang="0">
                <a:pos x="126" y="305"/>
              </a:cxn>
              <a:cxn ang="0">
                <a:pos x="100" y="290"/>
              </a:cxn>
              <a:cxn ang="0">
                <a:pos x="89" y="307"/>
              </a:cxn>
              <a:cxn ang="0">
                <a:pos x="82" y="312"/>
              </a:cxn>
              <a:cxn ang="0">
                <a:pos x="73" y="314"/>
              </a:cxn>
              <a:cxn ang="0">
                <a:pos x="60" y="311"/>
              </a:cxn>
              <a:cxn ang="0">
                <a:pos x="47" y="302"/>
              </a:cxn>
              <a:cxn ang="0">
                <a:pos x="28" y="291"/>
              </a:cxn>
              <a:cxn ang="0">
                <a:pos x="0" y="284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7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621474" y="3569817"/>
            <a:ext cx="193675" cy="349251"/>
          </a:xfrm>
          <a:custGeom>
            <a:avLst/>
            <a:gdLst/>
            <a:ahLst/>
            <a:cxnLst>
              <a:cxn ang="0">
                <a:pos x="335" y="36"/>
              </a:cxn>
              <a:cxn ang="0">
                <a:pos x="321" y="98"/>
              </a:cxn>
              <a:cxn ang="0">
                <a:pos x="277" y="162"/>
              </a:cxn>
              <a:cxn ang="0">
                <a:pos x="253" y="219"/>
              </a:cxn>
              <a:cxn ang="0">
                <a:pos x="232" y="272"/>
              </a:cxn>
              <a:cxn ang="0">
                <a:pos x="209" y="329"/>
              </a:cxn>
              <a:cxn ang="0">
                <a:pos x="196" y="362"/>
              </a:cxn>
              <a:cxn ang="0">
                <a:pos x="180" y="380"/>
              </a:cxn>
              <a:cxn ang="0">
                <a:pos x="167" y="390"/>
              </a:cxn>
              <a:cxn ang="0">
                <a:pos x="141" y="382"/>
              </a:cxn>
              <a:cxn ang="0">
                <a:pos x="121" y="370"/>
              </a:cxn>
              <a:cxn ang="0">
                <a:pos x="94" y="367"/>
              </a:cxn>
              <a:cxn ang="0">
                <a:pos x="64" y="380"/>
              </a:cxn>
              <a:cxn ang="0">
                <a:pos x="44" y="403"/>
              </a:cxn>
              <a:cxn ang="0">
                <a:pos x="21" y="454"/>
              </a:cxn>
              <a:cxn ang="0">
                <a:pos x="7" y="482"/>
              </a:cxn>
              <a:cxn ang="0">
                <a:pos x="1" y="500"/>
              </a:cxn>
              <a:cxn ang="0">
                <a:pos x="8" y="517"/>
              </a:cxn>
              <a:cxn ang="0">
                <a:pos x="20" y="526"/>
              </a:cxn>
              <a:cxn ang="0">
                <a:pos x="55" y="526"/>
              </a:cxn>
              <a:cxn ang="0">
                <a:pos x="71" y="548"/>
              </a:cxn>
              <a:cxn ang="0">
                <a:pos x="73" y="590"/>
              </a:cxn>
              <a:cxn ang="0">
                <a:pos x="67" y="630"/>
              </a:cxn>
              <a:cxn ang="0">
                <a:pos x="433" y="661"/>
              </a:cxn>
              <a:cxn ang="0">
                <a:pos x="442" y="582"/>
              </a:cxn>
              <a:cxn ang="0">
                <a:pos x="415" y="568"/>
              </a:cxn>
              <a:cxn ang="0">
                <a:pos x="373" y="557"/>
              </a:cxn>
              <a:cxn ang="0">
                <a:pos x="353" y="549"/>
              </a:cxn>
              <a:cxn ang="0">
                <a:pos x="340" y="537"/>
              </a:cxn>
              <a:cxn ang="0">
                <a:pos x="333" y="515"/>
              </a:cxn>
              <a:cxn ang="0">
                <a:pos x="333" y="464"/>
              </a:cxn>
              <a:cxn ang="0">
                <a:pos x="337" y="428"/>
              </a:cxn>
              <a:cxn ang="0">
                <a:pos x="351" y="397"/>
              </a:cxn>
              <a:cxn ang="0">
                <a:pos x="373" y="364"/>
              </a:cxn>
              <a:cxn ang="0">
                <a:pos x="392" y="330"/>
              </a:cxn>
              <a:cxn ang="0">
                <a:pos x="399" y="297"/>
              </a:cxn>
              <a:cxn ang="0">
                <a:pos x="389" y="267"/>
              </a:cxn>
              <a:cxn ang="0">
                <a:pos x="373" y="246"/>
              </a:cxn>
              <a:cxn ang="0">
                <a:pos x="343" y="217"/>
              </a:cxn>
              <a:cxn ang="0">
                <a:pos x="333" y="192"/>
              </a:cxn>
              <a:cxn ang="0">
                <a:pos x="335" y="173"/>
              </a:cxn>
              <a:cxn ang="0">
                <a:pos x="353" y="164"/>
              </a:cxn>
              <a:cxn ang="0">
                <a:pos x="406" y="162"/>
              </a:cxn>
              <a:cxn ang="0">
                <a:pos x="395" y="151"/>
              </a:cxn>
              <a:cxn ang="0">
                <a:pos x="379" y="117"/>
              </a:cxn>
              <a:cxn ang="0">
                <a:pos x="371" y="73"/>
              </a:cxn>
              <a:cxn ang="0">
                <a:pos x="373" y="45"/>
              </a:cxn>
              <a:cxn ang="0">
                <a:pos x="367" y="11"/>
              </a:cxn>
              <a:cxn ang="0">
                <a:pos x="347" y="0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8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7072576" y="3328518"/>
            <a:ext cx="55563" cy="57151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4" y="49"/>
              </a:cxn>
              <a:cxn ang="0">
                <a:pos x="10" y="41"/>
              </a:cxn>
              <a:cxn ang="0">
                <a:pos x="16" y="33"/>
              </a:cxn>
              <a:cxn ang="0">
                <a:pos x="24" y="25"/>
              </a:cxn>
              <a:cxn ang="0">
                <a:pos x="37" y="11"/>
              </a:cxn>
              <a:cxn ang="0">
                <a:pos x="47" y="0"/>
              </a:cxn>
              <a:cxn ang="0">
                <a:pos x="113" y="0"/>
              </a:cxn>
              <a:cxn ang="0">
                <a:pos x="114" y="4"/>
              </a:cxn>
              <a:cxn ang="0">
                <a:pos x="115" y="8"/>
              </a:cxn>
              <a:cxn ang="0">
                <a:pos x="117" y="12"/>
              </a:cxn>
              <a:cxn ang="0">
                <a:pos x="119" y="14"/>
              </a:cxn>
              <a:cxn ang="0">
                <a:pos x="124" y="20"/>
              </a:cxn>
              <a:cxn ang="0">
                <a:pos x="126" y="24"/>
              </a:cxn>
              <a:cxn ang="0">
                <a:pos x="126" y="32"/>
              </a:cxn>
              <a:cxn ang="0">
                <a:pos x="125" y="41"/>
              </a:cxn>
              <a:cxn ang="0">
                <a:pos x="124" y="48"/>
              </a:cxn>
              <a:cxn ang="0">
                <a:pos x="122" y="55"/>
              </a:cxn>
              <a:cxn ang="0">
                <a:pos x="119" y="62"/>
              </a:cxn>
              <a:cxn ang="0">
                <a:pos x="116" y="69"/>
              </a:cxn>
              <a:cxn ang="0">
                <a:pos x="112" y="75"/>
              </a:cxn>
              <a:cxn ang="0">
                <a:pos x="108" y="81"/>
              </a:cxn>
              <a:cxn ang="0">
                <a:pos x="104" y="86"/>
              </a:cxn>
              <a:cxn ang="0">
                <a:pos x="99" y="90"/>
              </a:cxn>
              <a:cxn ang="0">
                <a:pos x="93" y="94"/>
              </a:cxn>
              <a:cxn ang="0">
                <a:pos x="88" y="99"/>
              </a:cxn>
              <a:cxn ang="0">
                <a:pos x="81" y="101"/>
              </a:cxn>
              <a:cxn ang="0">
                <a:pos x="74" y="103"/>
              </a:cxn>
              <a:cxn ang="0">
                <a:pos x="67" y="105"/>
              </a:cxn>
              <a:cxn ang="0">
                <a:pos x="60" y="105"/>
              </a:cxn>
              <a:cxn ang="0">
                <a:pos x="48" y="104"/>
              </a:cxn>
              <a:cxn ang="0">
                <a:pos x="38" y="102"/>
              </a:cxn>
              <a:cxn ang="0">
                <a:pos x="31" y="98"/>
              </a:cxn>
              <a:cxn ang="0">
                <a:pos x="24" y="92"/>
              </a:cxn>
              <a:cxn ang="0">
                <a:pos x="20" y="86"/>
              </a:cxn>
              <a:cxn ang="0">
                <a:pos x="16" y="78"/>
              </a:cxn>
              <a:cxn ang="0">
                <a:pos x="14" y="70"/>
              </a:cxn>
              <a:cxn ang="0">
                <a:pos x="13" y="62"/>
              </a:cxn>
              <a:cxn ang="0">
                <a:pos x="0" y="56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9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427541" y="3592049"/>
            <a:ext cx="298450" cy="523875"/>
          </a:xfrm>
          <a:custGeom>
            <a:avLst/>
            <a:gdLst/>
            <a:ahLst/>
            <a:cxnLst>
              <a:cxn ang="0">
                <a:pos x="671" y="573"/>
              </a:cxn>
              <a:cxn ang="0">
                <a:pos x="680" y="550"/>
              </a:cxn>
              <a:cxn ang="0">
                <a:pos x="671" y="491"/>
              </a:cxn>
              <a:cxn ang="0">
                <a:pos x="659" y="423"/>
              </a:cxn>
              <a:cxn ang="0">
                <a:pos x="678" y="389"/>
              </a:cxn>
              <a:cxn ang="0">
                <a:pos x="557" y="361"/>
              </a:cxn>
              <a:cxn ang="0">
                <a:pos x="533" y="326"/>
              </a:cxn>
              <a:cxn ang="0">
                <a:pos x="462" y="310"/>
              </a:cxn>
              <a:cxn ang="0">
                <a:pos x="402" y="270"/>
              </a:cxn>
              <a:cxn ang="0">
                <a:pos x="375" y="201"/>
              </a:cxn>
              <a:cxn ang="0">
                <a:pos x="375" y="133"/>
              </a:cxn>
              <a:cxn ang="0">
                <a:pos x="395" y="84"/>
              </a:cxn>
              <a:cxn ang="0">
                <a:pos x="435" y="48"/>
              </a:cxn>
              <a:cxn ang="0">
                <a:pos x="463" y="11"/>
              </a:cxn>
              <a:cxn ang="0">
                <a:pos x="389" y="39"/>
              </a:cxn>
              <a:cxn ang="0">
                <a:pos x="335" y="68"/>
              </a:cxn>
              <a:cxn ang="0">
                <a:pos x="304" y="78"/>
              </a:cxn>
              <a:cxn ang="0">
                <a:pos x="278" y="84"/>
              </a:cxn>
              <a:cxn ang="0">
                <a:pos x="241" y="81"/>
              </a:cxn>
              <a:cxn ang="0">
                <a:pos x="217" y="108"/>
              </a:cxn>
              <a:cxn ang="0">
                <a:pos x="196" y="175"/>
              </a:cxn>
              <a:cxn ang="0">
                <a:pos x="157" y="227"/>
              </a:cxn>
              <a:cxn ang="0">
                <a:pos x="107" y="284"/>
              </a:cxn>
              <a:cxn ang="0">
                <a:pos x="90" y="317"/>
              </a:cxn>
              <a:cxn ang="0">
                <a:pos x="86" y="356"/>
              </a:cxn>
              <a:cxn ang="0">
                <a:pos x="97" y="382"/>
              </a:cxn>
              <a:cxn ang="0">
                <a:pos x="97" y="451"/>
              </a:cxn>
              <a:cxn ang="0">
                <a:pos x="95" y="525"/>
              </a:cxn>
              <a:cxn ang="0">
                <a:pos x="72" y="563"/>
              </a:cxn>
              <a:cxn ang="0">
                <a:pos x="37" y="592"/>
              </a:cxn>
              <a:cxn ang="0">
                <a:pos x="11" y="612"/>
              </a:cxn>
              <a:cxn ang="0">
                <a:pos x="30" y="668"/>
              </a:cxn>
              <a:cxn ang="0">
                <a:pos x="123" y="725"/>
              </a:cxn>
              <a:cxn ang="0">
                <a:pos x="175" y="728"/>
              </a:cxn>
              <a:cxn ang="0">
                <a:pos x="234" y="746"/>
              </a:cxn>
              <a:cxn ang="0">
                <a:pos x="299" y="795"/>
              </a:cxn>
              <a:cxn ang="0">
                <a:pos x="337" y="850"/>
              </a:cxn>
              <a:cxn ang="0">
                <a:pos x="367" y="881"/>
              </a:cxn>
              <a:cxn ang="0">
                <a:pos x="412" y="886"/>
              </a:cxn>
              <a:cxn ang="0">
                <a:pos x="462" y="876"/>
              </a:cxn>
              <a:cxn ang="0">
                <a:pos x="492" y="878"/>
              </a:cxn>
              <a:cxn ang="0">
                <a:pos x="515" y="904"/>
              </a:cxn>
              <a:cxn ang="0">
                <a:pos x="513" y="922"/>
              </a:cxn>
              <a:cxn ang="0">
                <a:pos x="488" y="937"/>
              </a:cxn>
              <a:cxn ang="0">
                <a:pos x="488" y="963"/>
              </a:cxn>
              <a:cxn ang="0">
                <a:pos x="511" y="994"/>
              </a:cxn>
              <a:cxn ang="0">
                <a:pos x="542" y="962"/>
              </a:cxn>
              <a:cxn ang="0">
                <a:pos x="566" y="861"/>
              </a:cxn>
              <a:cxn ang="0">
                <a:pos x="571" y="803"/>
              </a:cxn>
              <a:cxn ang="0">
                <a:pos x="555" y="771"/>
              </a:cxn>
              <a:cxn ang="0">
                <a:pos x="523" y="749"/>
              </a:cxn>
              <a:cxn ang="0">
                <a:pos x="521" y="723"/>
              </a:cxn>
              <a:cxn ang="0">
                <a:pos x="566" y="700"/>
              </a:cxn>
              <a:cxn ang="0">
                <a:pos x="556" y="665"/>
              </a:cxn>
              <a:cxn ang="0">
                <a:pos x="556" y="649"/>
              </a:cxn>
              <a:cxn ang="0">
                <a:pos x="655" y="628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0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680214" y="3860330"/>
            <a:ext cx="187325" cy="274639"/>
          </a:xfrm>
          <a:custGeom>
            <a:avLst/>
            <a:gdLst/>
            <a:ahLst/>
            <a:cxnLst>
              <a:cxn ang="0">
                <a:pos x="429" y="22"/>
              </a:cxn>
              <a:cxn ang="0">
                <a:pos x="428" y="43"/>
              </a:cxn>
              <a:cxn ang="0">
                <a:pos x="424" y="54"/>
              </a:cxn>
              <a:cxn ang="0">
                <a:pos x="415" y="67"/>
              </a:cxn>
              <a:cxn ang="0">
                <a:pos x="413" y="81"/>
              </a:cxn>
              <a:cxn ang="0">
                <a:pos x="414" y="160"/>
              </a:cxn>
              <a:cxn ang="0">
                <a:pos x="408" y="207"/>
              </a:cxn>
              <a:cxn ang="0">
                <a:pos x="396" y="241"/>
              </a:cxn>
              <a:cxn ang="0">
                <a:pos x="372" y="278"/>
              </a:cxn>
              <a:cxn ang="0">
                <a:pos x="338" y="309"/>
              </a:cxn>
              <a:cxn ang="0">
                <a:pos x="319" y="333"/>
              </a:cxn>
              <a:cxn ang="0">
                <a:pos x="312" y="412"/>
              </a:cxn>
              <a:cxn ang="0">
                <a:pos x="304" y="439"/>
              </a:cxn>
              <a:cxn ang="0">
                <a:pos x="290" y="448"/>
              </a:cxn>
              <a:cxn ang="0">
                <a:pos x="269" y="455"/>
              </a:cxn>
              <a:cxn ang="0">
                <a:pos x="253" y="472"/>
              </a:cxn>
              <a:cxn ang="0">
                <a:pos x="234" y="500"/>
              </a:cxn>
              <a:cxn ang="0">
                <a:pos x="223" y="505"/>
              </a:cxn>
              <a:cxn ang="0">
                <a:pos x="201" y="504"/>
              </a:cxn>
              <a:cxn ang="0">
                <a:pos x="189" y="498"/>
              </a:cxn>
              <a:cxn ang="0">
                <a:pos x="145" y="500"/>
              </a:cxn>
              <a:cxn ang="0">
                <a:pos x="123" y="500"/>
              </a:cxn>
              <a:cxn ang="0">
                <a:pos x="113" y="494"/>
              </a:cxn>
              <a:cxn ang="0">
                <a:pos x="95" y="493"/>
              </a:cxn>
              <a:cxn ang="0">
                <a:pos x="78" y="502"/>
              </a:cxn>
              <a:cxn ang="0">
                <a:pos x="62" y="519"/>
              </a:cxn>
              <a:cxn ang="0">
                <a:pos x="27" y="491"/>
              </a:cxn>
              <a:cxn ang="0">
                <a:pos x="6" y="447"/>
              </a:cxn>
              <a:cxn ang="0">
                <a:pos x="25" y="430"/>
              </a:cxn>
              <a:cxn ang="0">
                <a:pos x="42" y="424"/>
              </a:cxn>
              <a:cxn ang="0">
                <a:pos x="61" y="428"/>
              </a:cxn>
              <a:cxn ang="0">
                <a:pos x="58" y="418"/>
              </a:cxn>
              <a:cxn ang="0">
                <a:pos x="45" y="386"/>
              </a:cxn>
              <a:cxn ang="0">
                <a:pos x="47" y="366"/>
              </a:cxn>
              <a:cxn ang="0">
                <a:pos x="57" y="356"/>
              </a:cxn>
              <a:cxn ang="0">
                <a:pos x="71" y="352"/>
              </a:cxn>
              <a:cxn ang="0">
                <a:pos x="89" y="337"/>
              </a:cxn>
              <a:cxn ang="0">
                <a:pos x="104" y="333"/>
              </a:cxn>
              <a:cxn ang="0">
                <a:pos x="115" y="342"/>
              </a:cxn>
              <a:cxn ang="0">
                <a:pos x="135" y="359"/>
              </a:cxn>
              <a:cxn ang="0">
                <a:pos x="154" y="351"/>
              </a:cxn>
              <a:cxn ang="0">
                <a:pos x="181" y="353"/>
              </a:cxn>
              <a:cxn ang="0">
                <a:pos x="199" y="340"/>
              </a:cxn>
              <a:cxn ang="0">
                <a:pos x="210" y="315"/>
              </a:cxn>
              <a:cxn ang="0">
                <a:pos x="213" y="290"/>
              </a:cxn>
              <a:cxn ang="0">
                <a:pos x="215" y="269"/>
              </a:cxn>
              <a:cxn ang="0">
                <a:pos x="201" y="236"/>
              </a:cxn>
              <a:cxn ang="0">
                <a:pos x="188" y="203"/>
              </a:cxn>
              <a:cxn ang="0">
                <a:pos x="207" y="177"/>
              </a:cxn>
              <a:cxn ang="0">
                <a:pos x="210" y="164"/>
              </a:cxn>
              <a:cxn ang="0">
                <a:pos x="200" y="155"/>
              </a:cxn>
              <a:cxn ang="0">
                <a:pos x="197" y="137"/>
              </a:cxn>
              <a:cxn ang="0">
                <a:pos x="188" y="129"/>
              </a:cxn>
              <a:cxn ang="0">
                <a:pos x="161" y="132"/>
              </a:cxn>
              <a:cxn ang="0">
                <a:pos x="137" y="131"/>
              </a:cxn>
              <a:cxn ang="0">
                <a:pos x="125" y="119"/>
              </a:cxn>
              <a:cxn ang="0">
                <a:pos x="123" y="103"/>
              </a:cxn>
              <a:cxn ang="0">
                <a:pos x="132" y="76"/>
              </a:cxn>
              <a:cxn ang="0">
                <a:pos x="306" y="38"/>
              </a:cxn>
              <a:cxn ang="0">
                <a:pos x="323" y="17"/>
              </a:cxn>
              <a:cxn ang="0">
                <a:pos x="343" y="7"/>
              </a:cxn>
              <a:cxn ang="0">
                <a:pos x="374" y="5"/>
              </a:cxn>
              <a:cxn ang="0">
                <a:pos x="408" y="4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1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711954" y="2503018"/>
            <a:ext cx="127000" cy="114300"/>
          </a:xfrm>
          <a:custGeom>
            <a:avLst/>
            <a:gdLst/>
            <a:ahLst/>
            <a:cxnLst>
              <a:cxn ang="0">
                <a:pos x="259" y="93"/>
              </a:cxn>
              <a:cxn ang="0">
                <a:pos x="166" y="77"/>
              </a:cxn>
              <a:cxn ang="0">
                <a:pos x="152" y="79"/>
              </a:cxn>
              <a:cxn ang="0">
                <a:pos x="139" y="79"/>
              </a:cxn>
              <a:cxn ang="0">
                <a:pos x="126" y="77"/>
              </a:cxn>
              <a:cxn ang="0">
                <a:pos x="119" y="93"/>
              </a:cxn>
              <a:cxn ang="0">
                <a:pos x="144" y="131"/>
              </a:cxn>
              <a:cxn ang="0">
                <a:pos x="168" y="157"/>
              </a:cxn>
              <a:cxn ang="0">
                <a:pos x="189" y="185"/>
              </a:cxn>
              <a:cxn ang="0">
                <a:pos x="197" y="202"/>
              </a:cxn>
              <a:cxn ang="0">
                <a:pos x="205" y="222"/>
              </a:cxn>
              <a:cxn ang="0">
                <a:pos x="175" y="223"/>
              </a:cxn>
              <a:cxn ang="0">
                <a:pos x="161" y="222"/>
              </a:cxn>
              <a:cxn ang="0">
                <a:pos x="146" y="216"/>
              </a:cxn>
              <a:cxn ang="0">
                <a:pos x="134" y="209"/>
              </a:cxn>
              <a:cxn ang="0">
                <a:pos x="127" y="198"/>
              </a:cxn>
              <a:cxn ang="0">
                <a:pos x="121" y="187"/>
              </a:cxn>
              <a:cxn ang="0">
                <a:pos x="113" y="180"/>
              </a:cxn>
              <a:cxn ang="0">
                <a:pos x="91" y="145"/>
              </a:cxn>
              <a:cxn ang="0">
                <a:pos x="68" y="113"/>
              </a:cxn>
              <a:cxn ang="0">
                <a:pos x="55" y="99"/>
              </a:cxn>
              <a:cxn ang="0">
                <a:pos x="42" y="87"/>
              </a:cxn>
              <a:cxn ang="0">
                <a:pos x="27" y="79"/>
              </a:cxn>
              <a:cxn ang="0">
                <a:pos x="13" y="75"/>
              </a:cxn>
              <a:cxn ang="0">
                <a:pos x="4" y="65"/>
              </a:cxn>
              <a:cxn ang="0">
                <a:pos x="1" y="58"/>
              </a:cxn>
              <a:cxn ang="0">
                <a:pos x="0" y="49"/>
              </a:cxn>
              <a:cxn ang="0">
                <a:pos x="40" y="55"/>
              </a:cxn>
              <a:cxn ang="0">
                <a:pos x="70" y="55"/>
              </a:cxn>
              <a:cxn ang="0">
                <a:pos x="91" y="50"/>
              </a:cxn>
              <a:cxn ang="0">
                <a:pos x="106" y="41"/>
              </a:cxn>
              <a:cxn ang="0">
                <a:pos x="127" y="20"/>
              </a:cxn>
              <a:cxn ang="0">
                <a:pos x="138" y="9"/>
              </a:cxn>
              <a:cxn ang="0">
                <a:pos x="152" y="0"/>
              </a:cxn>
              <a:cxn ang="0">
                <a:pos x="172" y="14"/>
              </a:cxn>
              <a:cxn ang="0">
                <a:pos x="194" y="26"/>
              </a:cxn>
              <a:cxn ang="0">
                <a:pos x="218" y="34"/>
              </a:cxn>
              <a:cxn ang="0">
                <a:pos x="246" y="37"/>
              </a:cxn>
              <a:cxn ang="0">
                <a:pos x="262" y="34"/>
              </a:cxn>
              <a:cxn ang="0">
                <a:pos x="279" y="31"/>
              </a:cxn>
              <a:cxn ang="0">
                <a:pos x="285" y="47"/>
              </a:cxn>
              <a:cxn ang="0">
                <a:pos x="287" y="49"/>
              </a:cxn>
              <a:cxn ang="0">
                <a:pos x="292" y="69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2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662745" y="2361730"/>
            <a:ext cx="168275" cy="77788"/>
          </a:xfrm>
          <a:custGeom>
            <a:avLst/>
            <a:gdLst/>
            <a:ahLst/>
            <a:cxnLst>
              <a:cxn ang="0">
                <a:pos x="375" y="94"/>
              </a:cxn>
              <a:cxn ang="0">
                <a:pos x="360" y="101"/>
              </a:cxn>
              <a:cxn ang="0">
                <a:pos x="354" y="108"/>
              </a:cxn>
              <a:cxn ang="0">
                <a:pos x="347" y="117"/>
              </a:cxn>
              <a:cxn ang="0">
                <a:pos x="333" y="127"/>
              </a:cxn>
              <a:cxn ang="0">
                <a:pos x="320" y="131"/>
              </a:cxn>
              <a:cxn ang="0">
                <a:pos x="311" y="132"/>
              </a:cxn>
              <a:cxn ang="0">
                <a:pos x="301" y="130"/>
              </a:cxn>
              <a:cxn ang="0">
                <a:pos x="291" y="126"/>
              </a:cxn>
              <a:cxn ang="0">
                <a:pos x="281" y="119"/>
              </a:cxn>
              <a:cxn ang="0">
                <a:pos x="275" y="116"/>
              </a:cxn>
              <a:cxn ang="0">
                <a:pos x="269" y="118"/>
              </a:cxn>
              <a:cxn ang="0">
                <a:pos x="267" y="123"/>
              </a:cxn>
              <a:cxn ang="0">
                <a:pos x="266" y="140"/>
              </a:cxn>
              <a:cxn ang="0">
                <a:pos x="257" y="145"/>
              </a:cxn>
              <a:cxn ang="0">
                <a:pos x="244" y="140"/>
              </a:cxn>
              <a:cxn ang="0">
                <a:pos x="229" y="131"/>
              </a:cxn>
              <a:cxn ang="0">
                <a:pos x="113" y="141"/>
              </a:cxn>
              <a:cxn ang="0">
                <a:pos x="80" y="124"/>
              </a:cxn>
              <a:cxn ang="0">
                <a:pos x="58" y="109"/>
              </a:cxn>
              <a:cxn ang="0">
                <a:pos x="45" y="94"/>
              </a:cxn>
              <a:cxn ang="0">
                <a:pos x="37" y="82"/>
              </a:cxn>
              <a:cxn ang="0">
                <a:pos x="26" y="59"/>
              </a:cxn>
              <a:cxn ang="0">
                <a:pos x="16" y="48"/>
              </a:cxn>
              <a:cxn ang="0">
                <a:pos x="0" y="36"/>
              </a:cxn>
              <a:cxn ang="0">
                <a:pos x="29" y="40"/>
              </a:cxn>
              <a:cxn ang="0">
                <a:pos x="52" y="38"/>
              </a:cxn>
              <a:cxn ang="0">
                <a:pos x="72" y="33"/>
              </a:cxn>
              <a:cxn ang="0">
                <a:pos x="87" y="25"/>
              </a:cxn>
              <a:cxn ang="0">
                <a:pos x="119" y="8"/>
              </a:cxn>
              <a:cxn ang="0">
                <a:pos x="138" y="2"/>
              </a:cxn>
              <a:cxn ang="0">
                <a:pos x="159" y="0"/>
              </a:cxn>
              <a:cxn ang="0">
                <a:pos x="200" y="23"/>
              </a:cxn>
              <a:cxn ang="0">
                <a:pos x="244" y="45"/>
              </a:cxn>
              <a:cxn ang="0">
                <a:pos x="292" y="67"/>
              </a:cxn>
              <a:cxn ang="0">
                <a:pos x="333" y="80"/>
              </a:cxn>
              <a:cxn ang="0">
                <a:pos x="354" y="86"/>
              </a:cxn>
              <a:cxn ang="0">
                <a:pos x="379" y="92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3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626224" y="2217276"/>
            <a:ext cx="301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"/>
              </a:cxn>
              <a:cxn ang="0">
                <a:pos x="0" y="18"/>
              </a:cxn>
              <a:cxn ang="0">
                <a:pos x="1" y="24"/>
              </a:cxn>
              <a:cxn ang="0">
                <a:pos x="2" y="30"/>
              </a:cxn>
              <a:cxn ang="0">
                <a:pos x="3" y="36"/>
              </a:cxn>
              <a:cxn ang="0">
                <a:pos x="6" y="42"/>
              </a:cxn>
              <a:cxn ang="0">
                <a:pos x="12" y="55"/>
              </a:cxn>
              <a:cxn ang="0">
                <a:pos x="21" y="67"/>
              </a:cxn>
              <a:cxn ang="0">
                <a:pos x="28" y="65"/>
              </a:cxn>
              <a:cxn ang="0">
                <a:pos x="35" y="61"/>
              </a:cxn>
              <a:cxn ang="0">
                <a:pos x="42" y="58"/>
              </a:cxn>
              <a:cxn ang="0">
                <a:pos x="48" y="53"/>
              </a:cxn>
              <a:cxn ang="0">
                <a:pos x="53" y="47"/>
              </a:cxn>
              <a:cxn ang="0">
                <a:pos x="57" y="40"/>
              </a:cxn>
              <a:cxn ang="0">
                <a:pos x="59" y="32"/>
              </a:cxn>
              <a:cxn ang="0">
                <a:pos x="61" y="24"/>
              </a:cxn>
              <a:cxn ang="0">
                <a:pos x="53" y="14"/>
              </a:cxn>
              <a:cxn ang="0">
                <a:pos x="41" y="0"/>
              </a:cxn>
              <a:cxn ang="0">
                <a:pos x="28" y="3"/>
              </a:cxn>
              <a:cxn ang="0">
                <a:pos x="18" y="4"/>
              </a:cxn>
              <a:cxn ang="0">
                <a:pos x="13" y="4"/>
              </a:cxn>
              <a:cxn ang="0">
                <a:pos x="10" y="3"/>
              </a:cxn>
              <a:cxn ang="0">
                <a:pos x="6" y="2"/>
              </a:cxn>
              <a:cxn ang="0">
                <a:pos x="0" y="0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4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597650" y="2222029"/>
            <a:ext cx="25400" cy="58739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24"/>
              </a:cxn>
              <a:cxn ang="0">
                <a:pos x="5" y="32"/>
              </a:cxn>
              <a:cxn ang="0">
                <a:pos x="10" y="40"/>
              </a:cxn>
              <a:cxn ang="0">
                <a:pos x="16" y="45"/>
              </a:cxn>
              <a:cxn ang="0">
                <a:pos x="21" y="49"/>
              </a:cxn>
              <a:cxn ang="0">
                <a:pos x="27" y="52"/>
              </a:cxn>
              <a:cxn ang="0">
                <a:pos x="33" y="54"/>
              </a:cxn>
              <a:cxn ang="0">
                <a:pos x="40" y="55"/>
              </a:cxn>
              <a:cxn ang="0">
                <a:pos x="46" y="55"/>
              </a:cxn>
              <a:cxn ang="0">
                <a:pos x="53" y="52"/>
              </a:cxn>
              <a:cxn ang="0">
                <a:pos x="60" y="49"/>
              </a:cxn>
              <a:cxn ang="0">
                <a:pos x="50" y="34"/>
              </a:cxn>
              <a:cxn ang="0">
                <a:pos x="42" y="22"/>
              </a:cxn>
              <a:cxn ang="0">
                <a:pos x="39" y="17"/>
              </a:cxn>
              <a:cxn ang="0">
                <a:pos x="35" y="12"/>
              </a:cxn>
              <a:cxn ang="0">
                <a:pos x="34" y="6"/>
              </a:cxn>
              <a:cxn ang="0">
                <a:pos x="33" y="0"/>
              </a:cxn>
              <a:cxn ang="0">
                <a:pos x="23" y="1"/>
              </a:cxn>
              <a:cxn ang="0">
                <a:pos x="15" y="3"/>
              </a:cxn>
              <a:cxn ang="0">
                <a:pos x="7" y="5"/>
              </a:cxn>
              <a:cxn ang="0">
                <a:pos x="0" y="6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009900"/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5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567486" y="2168055"/>
            <a:ext cx="52388" cy="77788"/>
          </a:xfrm>
          <a:custGeom>
            <a:avLst/>
            <a:gdLst/>
            <a:ahLst/>
            <a:cxnLst>
              <a:cxn ang="0">
                <a:pos x="74" y="129"/>
              </a:cxn>
              <a:cxn ang="0">
                <a:pos x="70" y="131"/>
              </a:cxn>
              <a:cxn ang="0">
                <a:pos x="67" y="132"/>
              </a:cxn>
              <a:cxn ang="0">
                <a:pos x="64" y="133"/>
              </a:cxn>
              <a:cxn ang="0">
                <a:pos x="60" y="133"/>
              </a:cxn>
              <a:cxn ang="0">
                <a:pos x="56" y="133"/>
              </a:cxn>
              <a:cxn ang="0">
                <a:pos x="53" y="132"/>
              </a:cxn>
              <a:cxn ang="0">
                <a:pos x="50" y="131"/>
              </a:cxn>
              <a:cxn ang="0">
                <a:pos x="47" y="129"/>
              </a:cxn>
              <a:cxn ang="0">
                <a:pos x="41" y="128"/>
              </a:cxn>
              <a:cxn ang="0">
                <a:pos x="34" y="125"/>
              </a:cxn>
              <a:cxn ang="0">
                <a:pos x="26" y="120"/>
              </a:cxn>
              <a:cxn ang="0">
                <a:pos x="19" y="115"/>
              </a:cxn>
              <a:cxn ang="0">
                <a:pos x="11" y="108"/>
              </a:cxn>
              <a:cxn ang="0">
                <a:pos x="6" y="101"/>
              </a:cxn>
              <a:cxn ang="0">
                <a:pos x="3" y="97"/>
              </a:cxn>
              <a:cxn ang="0">
                <a:pos x="2" y="94"/>
              </a:cxn>
              <a:cxn ang="0">
                <a:pos x="1" y="90"/>
              </a:cxn>
              <a:cxn ang="0">
                <a:pos x="0" y="87"/>
              </a:cxn>
              <a:cxn ang="0">
                <a:pos x="2" y="73"/>
              </a:cxn>
              <a:cxn ang="0">
                <a:pos x="8" y="55"/>
              </a:cxn>
              <a:cxn ang="0">
                <a:pos x="14" y="35"/>
              </a:cxn>
              <a:cxn ang="0">
                <a:pos x="20" y="18"/>
              </a:cxn>
              <a:cxn ang="0">
                <a:pos x="32" y="17"/>
              </a:cxn>
              <a:cxn ang="0">
                <a:pos x="42" y="16"/>
              </a:cxn>
              <a:cxn ang="0">
                <a:pos x="51" y="14"/>
              </a:cxn>
              <a:cxn ang="0">
                <a:pos x="58" y="11"/>
              </a:cxn>
              <a:cxn ang="0">
                <a:pos x="70" y="5"/>
              </a:cxn>
              <a:cxn ang="0">
                <a:pos x="80" y="0"/>
              </a:cxn>
              <a:cxn ang="0">
                <a:pos x="85" y="2"/>
              </a:cxn>
              <a:cxn ang="0">
                <a:pos x="93" y="7"/>
              </a:cxn>
              <a:cxn ang="0">
                <a:pos x="98" y="10"/>
              </a:cxn>
              <a:cxn ang="0">
                <a:pos x="102" y="13"/>
              </a:cxn>
              <a:cxn ang="0">
                <a:pos x="106" y="16"/>
              </a:cxn>
              <a:cxn ang="0">
                <a:pos x="107" y="18"/>
              </a:cxn>
              <a:cxn ang="0">
                <a:pos x="100" y="28"/>
              </a:cxn>
              <a:cxn ang="0">
                <a:pos x="93" y="37"/>
              </a:cxn>
              <a:cxn ang="0">
                <a:pos x="95" y="42"/>
              </a:cxn>
              <a:cxn ang="0">
                <a:pos x="98" y="49"/>
              </a:cxn>
              <a:cxn ang="0">
                <a:pos x="102" y="56"/>
              </a:cxn>
              <a:cxn ang="0">
                <a:pos x="107" y="63"/>
              </a:cxn>
              <a:cxn ang="0">
                <a:pos x="115" y="75"/>
              </a:cxn>
              <a:cxn ang="0">
                <a:pos x="120" y="79"/>
              </a:cxn>
              <a:cxn ang="0">
                <a:pos x="113" y="81"/>
              </a:cxn>
              <a:cxn ang="0">
                <a:pos x="107" y="84"/>
              </a:cxn>
              <a:cxn ang="0">
                <a:pos x="100" y="87"/>
              </a:cxn>
              <a:cxn ang="0">
                <a:pos x="96" y="91"/>
              </a:cxn>
              <a:cxn ang="0">
                <a:pos x="90" y="95"/>
              </a:cxn>
              <a:cxn ang="0">
                <a:pos x="87" y="99"/>
              </a:cxn>
              <a:cxn ang="0">
                <a:pos x="82" y="104"/>
              </a:cxn>
              <a:cxn ang="0">
                <a:pos x="80" y="109"/>
              </a:cxn>
              <a:cxn ang="0">
                <a:pos x="78" y="114"/>
              </a:cxn>
              <a:cxn ang="0">
                <a:pos x="77" y="120"/>
              </a:cxn>
              <a:cxn ang="0">
                <a:pos x="76" y="125"/>
              </a:cxn>
              <a:cxn ang="0">
                <a:pos x="75" y="130"/>
              </a:cxn>
              <a:cxn ang="0">
                <a:pos x="76" y="135"/>
              </a:cxn>
              <a:cxn ang="0">
                <a:pos x="77" y="140"/>
              </a:cxn>
              <a:cxn ang="0">
                <a:pos x="78" y="144"/>
              </a:cxn>
              <a:cxn ang="0">
                <a:pos x="80" y="148"/>
              </a:cxn>
              <a:cxn ang="0">
                <a:pos x="74" y="12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6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999286" y="2972945"/>
            <a:ext cx="273050" cy="307975"/>
          </a:xfrm>
          <a:custGeom>
            <a:avLst/>
            <a:gdLst/>
            <a:ahLst/>
            <a:cxnLst>
              <a:cxn ang="0">
                <a:pos x="21" y="2"/>
              </a:cxn>
              <a:cxn ang="0">
                <a:pos x="32" y="4"/>
              </a:cxn>
              <a:cxn ang="0">
                <a:pos x="54" y="8"/>
              </a:cxn>
              <a:cxn ang="0">
                <a:pos x="78" y="11"/>
              </a:cxn>
              <a:cxn ang="0">
                <a:pos x="104" y="19"/>
              </a:cxn>
              <a:cxn ang="0">
                <a:pos x="130" y="32"/>
              </a:cxn>
              <a:cxn ang="0">
                <a:pos x="146" y="40"/>
              </a:cxn>
              <a:cxn ang="0">
                <a:pos x="159" y="43"/>
              </a:cxn>
              <a:cxn ang="0">
                <a:pos x="189" y="43"/>
              </a:cxn>
              <a:cxn ang="0">
                <a:pos x="227" y="37"/>
              </a:cxn>
              <a:cxn ang="0">
                <a:pos x="277" y="23"/>
              </a:cxn>
              <a:cxn ang="0">
                <a:pos x="399" y="38"/>
              </a:cxn>
              <a:cxn ang="0">
                <a:pos x="403" y="69"/>
              </a:cxn>
              <a:cxn ang="0">
                <a:pos x="410" y="95"/>
              </a:cxn>
              <a:cxn ang="0">
                <a:pos x="417" y="119"/>
              </a:cxn>
              <a:cxn ang="0">
                <a:pos x="427" y="140"/>
              </a:cxn>
              <a:cxn ang="0">
                <a:pos x="450" y="175"/>
              </a:cxn>
              <a:cxn ang="0">
                <a:pos x="472" y="204"/>
              </a:cxn>
              <a:cxn ang="0">
                <a:pos x="482" y="222"/>
              </a:cxn>
              <a:cxn ang="0">
                <a:pos x="485" y="240"/>
              </a:cxn>
              <a:cxn ang="0">
                <a:pos x="491" y="255"/>
              </a:cxn>
              <a:cxn ang="0">
                <a:pos x="496" y="261"/>
              </a:cxn>
              <a:cxn ang="0">
                <a:pos x="505" y="266"/>
              </a:cxn>
              <a:cxn ang="0">
                <a:pos x="513" y="270"/>
              </a:cxn>
              <a:cxn ang="0">
                <a:pos x="519" y="278"/>
              </a:cxn>
              <a:cxn ang="0">
                <a:pos x="533" y="303"/>
              </a:cxn>
              <a:cxn ang="0">
                <a:pos x="541" y="331"/>
              </a:cxn>
              <a:cxn ang="0">
                <a:pos x="545" y="358"/>
              </a:cxn>
              <a:cxn ang="0">
                <a:pos x="548" y="368"/>
              </a:cxn>
              <a:cxn ang="0">
                <a:pos x="557" y="381"/>
              </a:cxn>
              <a:cxn ang="0">
                <a:pos x="583" y="415"/>
              </a:cxn>
              <a:cxn ang="0">
                <a:pos x="612" y="447"/>
              </a:cxn>
              <a:cxn ang="0">
                <a:pos x="631" y="463"/>
              </a:cxn>
              <a:cxn ang="0">
                <a:pos x="612" y="481"/>
              </a:cxn>
              <a:cxn ang="0">
                <a:pos x="624" y="496"/>
              </a:cxn>
              <a:cxn ang="0">
                <a:pos x="626" y="507"/>
              </a:cxn>
              <a:cxn ang="0">
                <a:pos x="626" y="516"/>
              </a:cxn>
              <a:cxn ang="0">
                <a:pos x="631" y="531"/>
              </a:cxn>
              <a:cxn ang="0">
                <a:pos x="626" y="539"/>
              </a:cxn>
              <a:cxn ang="0">
                <a:pos x="617" y="548"/>
              </a:cxn>
              <a:cxn ang="0">
                <a:pos x="592" y="569"/>
              </a:cxn>
              <a:cxn ang="0">
                <a:pos x="558" y="592"/>
              </a:cxn>
              <a:cxn ang="0">
                <a:pos x="46" y="174"/>
              </a:cxn>
              <a:cxn ang="0">
                <a:pos x="25" y="157"/>
              </a:cxn>
              <a:cxn ang="0">
                <a:pos x="11" y="138"/>
              </a:cxn>
              <a:cxn ang="0">
                <a:pos x="2" y="117"/>
              </a:cxn>
              <a:cxn ang="0">
                <a:pos x="0" y="93"/>
              </a:cxn>
              <a:cxn ang="0">
                <a:pos x="3" y="89"/>
              </a:cxn>
              <a:cxn ang="0">
                <a:pos x="10" y="83"/>
              </a:cxn>
              <a:cxn ang="0">
                <a:pos x="17" y="77"/>
              </a:cxn>
              <a:cxn ang="0">
                <a:pos x="20" y="69"/>
              </a:cxn>
              <a:cxn ang="0">
                <a:pos x="18" y="53"/>
              </a:cxn>
              <a:cxn ang="0">
                <a:pos x="13" y="42"/>
              </a:cxn>
              <a:cxn ang="0">
                <a:pos x="9" y="34"/>
              </a:cxn>
              <a:cxn ang="0">
                <a:pos x="7" y="26"/>
              </a:cxn>
              <a:cxn ang="0">
                <a:pos x="13" y="0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7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594479" y="2607793"/>
            <a:ext cx="17462" cy="57151"/>
          </a:xfrm>
          <a:custGeom>
            <a:avLst/>
            <a:gdLst/>
            <a:ahLst/>
            <a:cxnLst>
              <a:cxn ang="0">
                <a:pos x="7" y="31"/>
              </a:cxn>
              <a:cxn ang="0">
                <a:pos x="10" y="30"/>
              </a:cxn>
              <a:cxn ang="0">
                <a:pos x="14" y="26"/>
              </a:cxn>
              <a:cxn ang="0">
                <a:pos x="20" y="20"/>
              </a:cxn>
              <a:cxn ang="0">
                <a:pos x="25" y="15"/>
              </a:cxn>
              <a:cxn ang="0">
                <a:pos x="35" y="4"/>
              </a:cxn>
              <a:cxn ang="0">
                <a:pos x="40" y="0"/>
              </a:cxn>
              <a:cxn ang="0">
                <a:pos x="37" y="26"/>
              </a:cxn>
              <a:cxn ang="0">
                <a:pos x="35" y="53"/>
              </a:cxn>
              <a:cxn ang="0">
                <a:pos x="34" y="65"/>
              </a:cxn>
              <a:cxn ang="0">
                <a:pos x="34" y="77"/>
              </a:cxn>
              <a:cxn ang="0">
                <a:pos x="35" y="82"/>
              </a:cxn>
              <a:cxn ang="0">
                <a:pos x="36" y="86"/>
              </a:cxn>
              <a:cxn ang="0">
                <a:pos x="37" y="90"/>
              </a:cxn>
              <a:cxn ang="0">
                <a:pos x="40" y="93"/>
              </a:cxn>
              <a:cxn ang="0">
                <a:pos x="26" y="93"/>
              </a:cxn>
              <a:cxn ang="0">
                <a:pos x="13" y="93"/>
              </a:cxn>
              <a:cxn ang="0">
                <a:pos x="11" y="92"/>
              </a:cxn>
              <a:cxn ang="0">
                <a:pos x="8" y="91"/>
              </a:cxn>
              <a:cxn ang="0">
                <a:pos x="6" y="88"/>
              </a:cxn>
              <a:cxn ang="0">
                <a:pos x="4" y="86"/>
              </a:cxn>
              <a:cxn ang="0">
                <a:pos x="1" y="80"/>
              </a:cxn>
              <a:cxn ang="0">
                <a:pos x="0" y="73"/>
              </a:cxn>
              <a:cxn ang="0">
                <a:pos x="1" y="64"/>
              </a:cxn>
              <a:cxn ang="0">
                <a:pos x="3" y="50"/>
              </a:cxn>
              <a:cxn ang="0">
                <a:pos x="6" y="37"/>
              </a:cxn>
              <a:cxn ang="0">
                <a:pos x="7" y="31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8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234126" y="2358553"/>
            <a:ext cx="295275" cy="273051"/>
          </a:xfrm>
          <a:custGeom>
            <a:avLst/>
            <a:gdLst/>
            <a:ahLst/>
            <a:cxnLst>
              <a:cxn ang="0">
                <a:pos x="149" y="445"/>
              </a:cxn>
              <a:cxn ang="0">
                <a:pos x="151" y="431"/>
              </a:cxn>
              <a:cxn ang="0">
                <a:pos x="146" y="400"/>
              </a:cxn>
              <a:cxn ang="0">
                <a:pos x="151" y="353"/>
              </a:cxn>
              <a:cxn ang="0">
                <a:pos x="146" y="298"/>
              </a:cxn>
              <a:cxn ang="0">
                <a:pos x="134" y="251"/>
              </a:cxn>
              <a:cxn ang="0">
                <a:pos x="109" y="241"/>
              </a:cxn>
              <a:cxn ang="0">
                <a:pos x="20" y="192"/>
              </a:cxn>
              <a:cxn ang="0">
                <a:pos x="24" y="171"/>
              </a:cxn>
              <a:cxn ang="0">
                <a:pos x="36" y="159"/>
              </a:cxn>
              <a:cxn ang="0">
                <a:pos x="48" y="148"/>
              </a:cxn>
              <a:cxn ang="0">
                <a:pos x="100" y="155"/>
              </a:cxn>
              <a:cxn ang="0">
                <a:pos x="125" y="152"/>
              </a:cxn>
              <a:cxn ang="0">
                <a:pos x="147" y="157"/>
              </a:cxn>
              <a:cxn ang="0">
                <a:pos x="165" y="94"/>
              </a:cxn>
              <a:cxn ang="0">
                <a:pos x="185" y="109"/>
              </a:cxn>
              <a:cxn ang="0">
                <a:pos x="207" y="110"/>
              </a:cxn>
              <a:cxn ang="0">
                <a:pos x="236" y="99"/>
              </a:cxn>
              <a:cxn ang="0">
                <a:pos x="264" y="80"/>
              </a:cxn>
              <a:cxn ang="0">
                <a:pos x="289" y="57"/>
              </a:cxn>
              <a:cxn ang="0">
                <a:pos x="308" y="32"/>
              </a:cxn>
              <a:cxn ang="0">
                <a:pos x="318" y="12"/>
              </a:cxn>
              <a:cxn ang="0">
                <a:pos x="370" y="4"/>
              </a:cxn>
              <a:cxn ang="0">
                <a:pos x="404" y="32"/>
              </a:cxn>
              <a:cxn ang="0">
                <a:pos x="457" y="61"/>
              </a:cxn>
              <a:cxn ang="0">
                <a:pos x="511" y="90"/>
              </a:cxn>
              <a:cxn ang="0">
                <a:pos x="552" y="107"/>
              </a:cxn>
              <a:cxn ang="0">
                <a:pos x="578" y="116"/>
              </a:cxn>
              <a:cxn ang="0">
                <a:pos x="623" y="121"/>
              </a:cxn>
              <a:cxn ang="0">
                <a:pos x="658" y="136"/>
              </a:cxn>
              <a:cxn ang="0">
                <a:pos x="645" y="166"/>
              </a:cxn>
              <a:cxn ang="0">
                <a:pos x="620" y="236"/>
              </a:cxn>
              <a:cxn ang="0">
                <a:pos x="598" y="272"/>
              </a:cxn>
              <a:cxn ang="0">
                <a:pos x="585" y="286"/>
              </a:cxn>
              <a:cxn ang="0">
                <a:pos x="599" y="298"/>
              </a:cxn>
              <a:cxn ang="0">
                <a:pos x="618" y="307"/>
              </a:cxn>
              <a:cxn ang="0">
                <a:pos x="623" y="334"/>
              </a:cxn>
              <a:cxn ang="0">
                <a:pos x="620" y="347"/>
              </a:cxn>
              <a:cxn ang="0">
                <a:pos x="618" y="372"/>
              </a:cxn>
              <a:cxn ang="0">
                <a:pos x="622" y="399"/>
              </a:cxn>
              <a:cxn ang="0">
                <a:pos x="632" y="423"/>
              </a:cxn>
              <a:cxn ang="0">
                <a:pos x="608" y="457"/>
              </a:cxn>
              <a:cxn ang="0">
                <a:pos x="569" y="484"/>
              </a:cxn>
              <a:cxn ang="0">
                <a:pos x="542" y="489"/>
              </a:cxn>
              <a:cxn ang="0">
                <a:pos x="509" y="481"/>
              </a:cxn>
              <a:cxn ang="0">
                <a:pos x="477" y="460"/>
              </a:cxn>
              <a:cxn ang="0">
                <a:pos x="463" y="456"/>
              </a:cxn>
              <a:cxn ang="0">
                <a:pos x="443" y="457"/>
              </a:cxn>
              <a:cxn ang="0">
                <a:pos x="423" y="465"/>
              </a:cxn>
              <a:cxn ang="0">
                <a:pos x="406" y="477"/>
              </a:cxn>
              <a:cxn ang="0">
                <a:pos x="388" y="503"/>
              </a:cxn>
              <a:cxn ang="0">
                <a:pos x="385" y="517"/>
              </a:cxn>
              <a:cxn ang="0">
                <a:pos x="333" y="515"/>
              </a:cxn>
              <a:cxn ang="0">
                <a:pos x="317" y="507"/>
              </a:cxn>
              <a:cxn ang="0">
                <a:pos x="307" y="500"/>
              </a:cxn>
              <a:cxn ang="0">
                <a:pos x="296" y="508"/>
              </a:cxn>
              <a:cxn ang="0">
                <a:pos x="287" y="516"/>
              </a:cxn>
              <a:cxn ang="0">
                <a:pos x="268" y="516"/>
              </a:cxn>
              <a:cxn ang="0">
                <a:pos x="227" y="506"/>
              </a:cxn>
              <a:cxn ang="0">
                <a:pos x="185" y="487"/>
              </a:cxn>
              <a:cxn ang="0">
                <a:pos x="160" y="469"/>
              </a:cxn>
              <a:cxn ang="0">
                <a:pos x="146" y="450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9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315199" y="2593505"/>
            <a:ext cx="150812" cy="82551"/>
          </a:xfrm>
          <a:custGeom>
            <a:avLst/>
            <a:gdLst/>
            <a:ahLst/>
            <a:cxnLst>
              <a:cxn ang="0">
                <a:pos x="332" y="91"/>
              </a:cxn>
              <a:cxn ang="0">
                <a:pos x="352" y="153"/>
              </a:cxn>
              <a:cxn ang="0">
                <a:pos x="326" y="141"/>
              </a:cxn>
              <a:cxn ang="0">
                <a:pos x="299" y="129"/>
              </a:cxn>
              <a:cxn ang="0">
                <a:pos x="266" y="141"/>
              </a:cxn>
              <a:cxn ang="0">
                <a:pos x="232" y="141"/>
              </a:cxn>
              <a:cxn ang="0">
                <a:pos x="227" y="135"/>
              </a:cxn>
              <a:cxn ang="0">
                <a:pos x="226" y="135"/>
              </a:cxn>
              <a:cxn ang="0">
                <a:pos x="219" y="129"/>
              </a:cxn>
              <a:cxn ang="0">
                <a:pos x="213" y="125"/>
              </a:cxn>
              <a:cxn ang="0">
                <a:pos x="205" y="121"/>
              </a:cxn>
              <a:cxn ang="0">
                <a:pos x="197" y="118"/>
              </a:cxn>
              <a:cxn ang="0">
                <a:pos x="181" y="113"/>
              </a:cxn>
              <a:cxn ang="0">
                <a:pos x="163" y="110"/>
              </a:cxn>
              <a:cxn ang="0">
                <a:pos x="126" y="107"/>
              </a:cxn>
              <a:cxn ang="0">
                <a:pos x="86" y="104"/>
              </a:cxn>
              <a:cxn ang="0">
                <a:pos x="85" y="94"/>
              </a:cxn>
              <a:cxn ang="0">
                <a:pos x="82" y="84"/>
              </a:cxn>
              <a:cxn ang="0">
                <a:pos x="80" y="75"/>
              </a:cxn>
              <a:cxn ang="0">
                <a:pos x="75" y="67"/>
              </a:cxn>
              <a:cxn ang="0">
                <a:pos x="71" y="59"/>
              </a:cxn>
              <a:cxn ang="0">
                <a:pos x="67" y="52"/>
              </a:cxn>
              <a:cxn ang="0">
                <a:pos x="61" y="44"/>
              </a:cxn>
              <a:cxn ang="0">
                <a:pos x="56" y="37"/>
              </a:cxn>
              <a:cxn ang="0">
                <a:pos x="44" y="26"/>
              </a:cxn>
              <a:cxn ang="0">
                <a:pos x="29" y="16"/>
              </a:cxn>
              <a:cxn ang="0">
                <a:pos x="15" y="7"/>
              </a:cxn>
              <a:cxn ang="0">
                <a:pos x="0" y="0"/>
              </a:cxn>
              <a:cxn ang="0">
                <a:pos x="7" y="0"/>
              </a:cxn>
              <a:cxn ang="0">
                <a:pos x="60" y="18"/>
              </a:cxn>
              <a:cxn ang="0">
                <a:pos x="106" y="30"/>
              </a:cxn>
              <a:cxn ang="0">
                <a:pos x="134" y="18"/>
              </a:cxn>
              <a:cxn ang="0">
                <a:pos x="180" y="36"/>
              </a:cxn>
              <a:cxn ang="0">
                <a:pos x="206" y="55"/>
              </a:cxn>
              <a:cxn ang="0">
                <a:pos x="246" y="49"/>
              </a:cxn>
              <a:cxn ang="0">
                <a:pos x="286" y="61"/>
              </a:cxn>
              <a:cxn ang="0">
                <a:pos x="313" y="79"/>
              </a:cxn>
              <a:cxn ang="0">
                <a:pos x="332" y="91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0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864356" y="2653830"/>
            <a:ext cx="147637" cy="173039"/>
          </a:xfrm>
          <a:custGeom>
            <a:avLst/>
            <a:gdLst/>
            <a:ahLst/>
            <a:cxnLst>
              <a:cxn ang="0">
                <a:pos x="230" y="40"/>
              </a:cxn>
              <a:cxn ang="0">
                <a:pos x="193" y="56"/>
              </a:cxn>
              <a:cxn ang="0">
                <a:pos x="182" y="67"/>
              </a:cxn>
              <a:cxn ang="0">
                <a:pos x="181" y="81"/>
              </a:cxn>
              <a:cxn ang="0">
                <a:pos x="184" y="94"/>
              </a:cxn>
              <a:cxn ang="0">
                <a:pos x="177" y="102"/>
              </a:cxn>
              <a:cxn ang="0">
                <a:pos x="168" y="105"/>
              </a:cxn>
              <a:cxn ang="0">
                <a:pos x="160" y="98"/>
              </a:cxn>
              <a:cxn ang="0">
                <a:pos x="149" y="85"/>
              </a:cxn>
              <a:cxn ang="0">
                <a:pos x="126" y="74"/>
              </a:cxn>
              <a:cxn ang="0">
                <a:pos x="127" y="96"/>
              </a:cxn>
              <a:cxn ang="0">
                <a:pos x="139" y="116"/>
              </a:cxn>
              <a:cxn ang="0">
                <a:pos x="154" y="129"/>
              </a:cxn>
              <a:cxn ang="0">
                <a:pos x="159" y="130"/>
              </a:cxn>
              <a:cxn ang="0">
                <a:pos x="159" y="177"/>
              </a:cxn>
              <a:cxn ang="0">
                <a:pos x="159" y="237"/>
              </a:cxn>
              <a:cxn ang="0">
                <a:pos x="156" y="251"/>
              </a:cxn>
              <a:cxn ang="0">
                <a:pos x="147" y="259"/>
              </a:cxn>
              <a:cxn ang="0">
                <a:pos x="145" y="264"/>
              </a:cxn>
              <a:cxn ang="0">
                <a:pos x="162" y="276"/>
              </a:cxn>
              <a:cxn ang="0">
                <a:pos x="167" y="286"/>
              </a:cxn>
              <a:cxn ang="0">
                <a:pos x="155" y="295"/>
              </a:cxn>
              <a:cxn ang="0">
                <a:pos x="140" y="297"/>
              </a:cxn>
              <a:cxn ang="0">
                <a:pos x="130" y="307"/>
              </a:cxn>
              <a:cxn ang="0">
                <a:pos x="126" y="321"/>
              </a:cxn>
              <a:cxn ang="0">
                <a:pos x="121" y="300"/>
              </a:cxn>
              <a:cxn ang="0">
                <a:pos x="124" y="288"/>
              </a:cxn>
              <a:cxn ang="0">
                <a:pos x="109" y="286"/>
              </a:cxn>
              <a:cxn ang="0">
                <a:pos x="93" y="292"/>
              </a:cxn>
              <a:cxn ang="0">
                <a:pos x="79" y="296"/>
              </a:cxn>
              <a:cxn ang="0">
                <a:pos x="73" y="242"/>
              </a:cxn>
              <a:cxn ang="0">
                <a:pos x="79" y="216"/>
              </a:cxn>
              <a:cxn ang="0">
                <a:pos x="48" y="211"/>
              </a:cxn>
              <a:cxn ang="0">
                <a:pos x="28" y="198"/>
              </a:cxn>
              <a:cxn ang="0">
                <a:pos x="13" y="173"/>
              </a:cxn>
              <a:cxn ang="0">
                <a:pos x="0" y="130"/>
              </a:cxn>
              <a:cxn ang="0">
                <a:pos x="28" y="111"/>
              </a:cxn>
              <a:cxn ang="0">
                <a:pos x="50" y="81"/>
              </a:cxn>
              <a:cxn ang="0">
                <a:pos x="73" y="55"/>
              </a:cxn>
              <a:cxn ang="0">
                <a:pos x="115" y="41"/>
              </a:cxn>
              <a:cxn ang="0">
                <a:pos x="180" y="14"/>
              </a:cxn>
              <a:cxn ang="0">
                <a:pos x="218" y="7"/>
              </a:cxn>
              <a:cxn ang="0">
                <a:pos x="249" y="14"/>
              </a:cxn>
              <a:cxn ang="0">
                <a:pos x="271" y="27"/>
              </a:cxn>
              <a:cxn ang="0">
                <a:pos x="292" y="30"/>
              </a:cxn>
              <a:cxn ang="0">
                <a:pos x="307" y="20"/>
              </a:cxn>
              <a:cxn ang="0">
                <a:pos x="327" y="6"/>
              </a:cxn>
              <a:cxn ang="0">
                <a:pos x="330" y="32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00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1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948489" y="2845918"/>
            <a:ext cx="69850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4" y="2"/>
              </a:cxn>
              <a:cxn ang="0">
                <a:pos x="83" y="6"/>
              </a:cxn>
              <a:cxn ang="0">
                <a:pos x="103" y="8"/>
              </a:cxn>
              <a:cxn ang="0">
                <a:pos x="121" y="7"/>
              </a:cxn>
              <a:cxn ang="0">
                <a:pos x="130" y="6"/>
              </a:cxn>
              <a:cxn ang="0">
                <a:pos x="137" y="5"/>
              </a:cxn>
              <a:cxn ang="0">
                <a:pos x="145" y="3"/>
              </a:cxn>
              <a:cxn ang="0">
                <a:pos x="153" y="0"/>
              </a:cxn>
              <a:cxn ang="0">
                <a:pos x="153" y="9"/>
              </a:cxn>
              <a:cxn ang="0">
                <a:pos x="153" y="25"/>
              </a:cxn>
              <a:cxn ang="0">
                <a:pos x="143" y="31"/>
              </a:cxn>
              <a:cxn ang="0">
                <a:pos x="133" y="36"/>
              </a:cxn>
              <a:cxn ang="0">
                <a:pos x="124" y="40"/>
              </a:cxn>
              <a:cxn ang="0">
                <a:pos x="114" y="44"/>
              </a:cxn>
              <a:cxn ang="0">
                <a:pos x="106" y="46"/>
              </a:cxn>
              <a:cxn ang="0">
                <a:pos x="99" y="48"/>
              </a:cxn>
              <a:cxn ang="0">
                <a:pos x="92" y="49"/>
              </a:cxn>
              <a:cxn ang="0">
                <a:pos x="87" y="49"/>
              </a:cxn>
              <a:cxn ang="0">
                <a:pos x="72" y="48"/>
              </a:cxn>
              <a:cxn ang="0">
                <a:pos x="60" y="46"/>
              </a:cxn>
              <a:cxn ang="0">
                <a:pos x="50" y="43"/>
              </a:cxn>
              <a:cxn ang="0">
                <a:pos x="41" y="38"/>
              </a:cxn>
              <a:cxn ang="0">
                <a:pos x="22" y="29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2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4027751" y="3577754"/>
            <a:ext cx="187325" cy="158751"/>
          </a:xfrm>
          <a:custGeom>
            <a:avLst/>
            <a:gdLst/>
            <a:ahLst/>
            <a:cxnLst>
              <a:cxn ang="0">
                <a:pos x="194" y="16"/>
              </a:cxn>
              <a:cxn ang="0">
                <a:pos x="216" y="22"/>
              </a:cxn>
              <a:cxn ang="0">
                <a:pos x="230" y="29"/>
              </a:cxn>
              <a:cxn ang="0">
                <a:pos x="253" y="35"/>
              </a:cxn>
              <a:cxn ang="0">
                <a:pos x="279" y="37"/>
              </a:cxn>
              <a:cxn ang="0">
                <a:pos x="300" y="37"/>
              </a:cxn>
              <a:cxn ang="0">
                <a:pos x="319" y="34"/>
              </a:cxn>
              <a:cxn ang="0">
                <a:pos x="329" y="29"/>
              </a:cxn>
              <a:cxn ang="0">
                <a:pos x="365" y="25"/>
              </a:cxn>
              <a:cxn ang="0">
                <a:pos x="372" y="49"/>
              </a:cxn>
              <a:cxn ang="0">
                <a:pos x="383" y="74"/>
              </a:cxn>
              <a:cxn ang="0">
                <a:pos x="391" y="84"/>
              </a:cxn>
              <a:cxn ang="0">
                <a:pos x="400" y="92"/>
              </a:cxn>
              <a:cxn ang="0">
                <a:pos x="412" y="97"/>
              </a:cxn>
              <a:cxn ang="0">
                <a:pos x="425" y="99"/>
              </a:cxn>
              <a:cxn ang="0">
                <a:pos x="425" y="120"/>
              </a:cxn>
              <a:cxn ang="0">
                <a:pos x="425" y="142"/>
              </a:cxn>
              <a:cxn ang="0">
                <a:pos x="416" y="158"/>
              </a:cxn>
              <a:cxn ang="0">
                <a:pos x="412" y="170"/>
              </a:cxn>
              <a:cxn ang="0">
                <a:pos x="412" y="181"/>
              </a:cxn>
              <a:cxn ang="0">
                <a:pos x="415" y="190"/>
              </a:cxn>
              <a:cxn ang="0">
                <a:pos x="423" y="211"/>
              </a:cxn>
              <a:cxn ang="0">
                <a:pos x="426" y="226"/>
              </a:cxn>
              <a:cxn ang="0">
                <a:pos x="425" y="247"/>
              </a:cxn>
              <a:cxn ang="0">
                <a:pos x="426" y="274"/>
              </a:cxn>
              <a:cxn ang="0">
                <a:pos x="423" y="285"/>
              </a:cxn>
              <a:cxn ang="0">
                <a:pos x="412" y="296"/>
              </a:cxn>
              <a:cxn ang="0">
                <a:pos x="380" y="298"/>
              </a:cxn>
              <a:cxn ang="0">
                <a:pos x="370" y="299"/>
              </a:cxn>
              <a:cxn ang="0">
                <a:pos x="360" y="296"/>
              </a:cxn>
              <a:cxn ang="0">
                <a:pos x="351" y="290"/>
              </a:cxn>
              <a:cxn ang="0">
                <a:pos x="338" y="278"/>
              </a:cxn>
              <a:cxn ang="0">
                <a:pos x="324" y="261"/>
              </a:cxn>
              <a:cxn ang="0">
                <a:pos x="311" y="253"/>
              </a:cxn>
              <a:cxn ang="0">
                <a:pos x="294" y="251"/>
              </a:cxn>
              <a:cxn ang="0">
                <a:pos x="278" y="232"/>
              </a:cxn>
              <a:cxn ang="0">
                <a:pos x="274" y="210"/>
              </a:cxn>
              <a:cxn ang="0">
                <a:pos x="269" y="197"/>
              </a:cxn>
              <a:cxn ang="0">
                <a:pos x="261" y="184"/>
              </a:cxn>
              <a:cxn ang="0">
                <a:pos x="251" y="173"/>
              </a:cxn>
              <a:cxn ang="0">
                <a:pos x="238" y="165"/>
              </a:cxn>
              <a:cxn ang="0">
                <a:pos x="222" y="161"/>
              </a:cxn>
              <a:cxn ang="0">
                <a:pos x="204" y="161"/>
              </a:cxn>
              <a:cxn ang="0">
                <a:pos x="188" y="163"/>
              </a:cxn>
              <a:cxn ang="0">
                <a:pos x="173" y="168"/>
              </a:cxn>
              <a:cxn ang="0">
                <a:pos x="160" y="176"/>
              </a:cxn>
              <a:cxn ang="0">
                <a:pos x="141" y="191"/>
              </a:cxn>
              <a:cxn ang="0">
                <a:pos x="118" y="215"/>
              </a:cxn>
              <a:cxn ang="0">
                <a:pos x="105" y="218"/>
              </a:cxn>
              <a:cxn ang="0">
                <a:pos x="100" y="201"/>
              </a:cxn>
              <a:cxn ang="0">
                <a:pos x="90" y="186"/>
              </a:cxn>
              <a:cxn ang="0">
                <a:pos x="76" y="171"/>
              </a:cxn>
              <a:cxn ang="0">
                <a:pos x="50" y="153"/>
              </a:cxn>
              <a:cxn ang="0">
                <a:pos x="24" y="134"/>
              </a:cxn>
              <a:cxn ang="0">
                <a:pos x="8" y="119"/>
              </a:cxn>
              <a:cxn ang="0">
                <a:pos x="15" y="101"/>
              </a:cxn>
              <a:cxn ang="0">
                <a:pos x="46" y="77"/>
              </a:cxn>
              <a:cxn ang="0">
                <a:pos x="75" y="48"/>
              </a:cxn>
              <a:cxn ang="0">
                <a:pos x="98" y="17"/>
              </a:cxn>
              <a:cxn ang="0">
                <a:pos x="179" y="13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3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6072436" y="2841181"/>
            <a:ext cx="692150" cy="874713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0099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4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194424" y="3636506"/>
            <a:ext cx="158750" cy="206375"/>
          </a:xfrm>
          <a:custGeom>
            <a:avLst/>
            <a:gdLst/>
            <a:ahLst/>
            <a:cxnLst>
              <a:cxn ang="0">
                <a:pos x="53" y="382"/>
              </a:cxn>
              <a:cxn ang="0">
                <a:pos x="53" y="358"/>
              </a:cxn>
              <a:cxn ang="0">
                <a:pos x="53" y="333"/>
              </a:cxn>
              <a:cxn ang="0">
                <a:pos x="50" y="312"/>
              </a:cxn>
              <a:cxn ang="0">
                <a:pos x="43" y="293"/>
              </a:cxn>
              <a:cxn ang="0">
                <a:pos x="35" y="277"/>
              </a:cxn>
              <a:cxn ang="0">
                <a:pos x="13" y="245"/>
              </a:cxn>
              <a:cxn ang="0">
                <a:pos x="0" y="185"/>
              </a:cxn>
              <a:cxn ang="0">
                <a:pos x="33" y="181"/>
              </a:cxn>
              <a:cxn ang="0">
                <a:pos x="40" y="169"/>
              </a:cxn>
              <a:cxn ang="0">
                <a:pos x="41" y="150"/>
              </a:cxn>
              <a:cxn ang="0">
                <a:pos x="38" y="107"/>
              </a:cxn>
              <a:cxn ang="0">
                <a:pos x="31" y="65"/>
              </a:cxn>
              <a:cxn ang="0">
                <a:pos x="32" y="47"/>
              </a:cxn>
              <a:cxn ang="0">
                <a:pos x="36" y="36"/>
              </a:cxn>
              <a:cxn ang="0">
                <a:pos x="120" y="31"/>
              </a:cxn>
              <a:cxn ang="0">
                <a:pos x="122" y="22"/>
              </a:cxn>
              <a:cxn ang="0">
                <a:pos x="128" y="14"/>
              </a:cxn>
              <a:cxn ang="0">
                <a:pos x="140" y="0"/>
              </a:cxn>
              <a:cxn ang="0">
                <a:pos x="142" y="18"/>
              </a:cxn>
              <a:cxn ang="0">
                <a:pos x="142" y="26"/>
              </a:cxn>
              <a:cxn ang="0">
                <a:pos x="140" y="31"/>
              </a:cxn>
              <a:cxn ang="0">
                <a:pos x="168" y="31"/>
              </a:cxn>
              <a:cxn ang="0">
                <a:pos x="186" y="31"/>
              </a:cxn>
              <a:cxn ang="0">
                <a:pos x="214" y="38"/>
              </a:cxn>
              <a:cxn ang="0">
                <a:pos x="233" y="49"/>
              </a:cxn>
              <a:cxn ang="0">
                <a:pos x="246" y="58"/>
              </a:cxn>
              <a:cxn ang="0">
                <a:pos x="259" y="61"/>
              </a:cxn>
              <a:cxn ang="0">
                <a:pos x="268" y="59"/>
              </a:cxn>
              <a:cxn ang="0">
                <a:pos x="275" y="54"/>
              </a:cxn>
              <a:cxn ang="0">
                <a:pos x="286" y="37"/>
              </a:cxn>
              <a:cxn ang="0">
                <a:pos x="312" y="52"/>
              </a:cxn>
              <a:cxn ang="0">
                <a:pos x="325" y="59"/>
              </a:cxn>
              <a:cxn ang="0">
                <a:pos x="338" y="61"/>
              </a:cxn>
              <a:cxn ang="0">
                <a:pos x="353" y="161"/>
              </a:cxn>
              <a:cxn ang="0">
                <a:pos x="338" y="185"/>
              </a:cxn>
              <a:cxn ang="0">
                <a:pos x="323" y="206"/>
              </a:cxn>
              <a:cxn ang="0">
                <a:pos x="315" y="224"/>
              </a:cxn>
              <a:cxn ang="0">
                <a:pos x="313" y="239"/>
              </a:cxn>
              <a:cxn ang="0">
                <a:pos x="313" y="255"/>
              </a:cxn>
              <a:cxn ang="0">
                <a:pos x="321" y="273"/>
              </a:cxn>
              <a:cxn ang="0">
                <a:pos x="331" y="293"/>
              </a:cxn>
              <a:cxn ang="0">
                <a:pos x="337" y="309"/>
              </a:cxn>
              <a:cxn ang="0">
                <a:pos x="337" y="321"/>
              </a:cxn>
              <a:cxn ang="0">
                <a:pos x="330" y="337"/>
              </a:cxn>
              <a:cxn ang="0">
                <a:pos x="326" y="351"/>
              </a:cxn>
              <a:cxn ang="0">
                <a:pos x="319" y="358"/>
              </a:cxn>
              <a:cxn ang="0">
                <a:pos x="308" y="356"/>
              </a:cxn>
              <a:cxn ang="0">
                <a:pos x="298" y="350"/>
              </a:cxn>
              <a:cxn ang="0">
                <a:pos x="287" y="340"/>
              </a:cxn>
              <a:cxn ang="0">
                <a:pos x="277" y="335"/>
              </a:cxn>
              <a:cxn ang="0">
                <a:pos x="266" y="333"/>
              </a:cxn>
              <a:cxn ang="0">
                <a:pos x="246" y="333"/>
              </a:cxn>
              <a:cxn ang="0">
                <a:pos x="221" y="336"/>
              </a:cxn>
              <a:cxn ang="0">
                <a:pos x="181" y="343"/>
              </a:cxn>
              <a:cxn ang="0">
                <a:pos x="131" y="359"/>
              </a:cxn>
              <a:cxn ang="0">
                <a:pos x="86" y="375"/>
              </a:cxn>
              <a:cxn ang="0">
                <a:pos x="53" y="394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5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262814" y="3831762"/>
            <a:ext cx="192088" cy="271463"/>
          </a:xfrm>
          <a:custGeom>
            <a:avLst/>
            <a:gdLst/>
            <a:ahLst/>
            <a:cxnLst>
              <a:cxn ang="0">
                <a:pos x="410" y="105"/>
              </a:cxn>
              <a:cxn ang="0">
                <a:pos x="405" y="98"/>
              </a:cxn>
              <a:cxn ang="0">
                <a:pos x="408" y="92"/>
              </a:cxn>
              <a:cxn ang="0">
                <a:pos x="422" y="77"/>
              </a:cxn>
              <a:cxn ang="0">
                <a:pos x="441" y="60"/>
              </a:cxn>
              <a:cxn ang="0">
                <a:pos x="447" y="50"/>
              </a:cxn>
              <a:cxn ang="0">
                <a:pos x="449" y="37"/>
              </a:cxn>
              <a:cxn ang="0">
                <a:pos x="432" y="34"/>
              </a:cxn>
              <a:cxn ang="0">
                <a:pos x="422" y="27"/>
              </a:cxn>
              <a:cxn ang="0">
                <a:pos x="411" y="21"/>
              </a:cxn>
              <a:cxn ang="0">
                <a:pos x="390" y="18"/>
              </a:cxn>
              <a:cxn ang="0">
                <a:pos x="377" y="20"/>
              </a:cxn>
              <a:cxn ang="0">
                <a:pos x="368" y="24"/>
              </a:cxn>
              <a:cxn ang="0">
                <a:pos x="355" y="37"/>
              </a:cxn>
              <a:cxn ang="0">
                <a:pos x="340" y="50"/>
              </a:cxn>
              <a:cxn ang="0">
                <a:pos x="326" y="54"/>
              </a:cxn>
              <a:cxn ang="0">
                <a:pos x="310" y="55"/>
              </a:cxn>
              <a:cxn ang="0">
                <a:pos x="287" y="54"/>
              </a:cxn>
              <a:cxn ang="0">
                <a:pos x="267" y="50"/>
              </a:cxn>
              <a:cxn ang="0">
                <a:pos x="235" y="36"/>
              </a:cxn>
              <a:cxn ang="0">
                <a:pos x="206" y="19"/>
              </a:cxn>
              <a:cxn ang="0">
                <a:pos x="189" y="12"/>
              </a:cxn>
              <a:cxn ang="0">
                <a:pos x="170" y="6"/>
              </a:cxn>
              <a:cxn ang="0">
                <a:pos x="134" y="8"/>
              </a:cxn>
              <a:cxn ang="0">
                <a:pos x="119" y="6"/>
              </a:cxn>
              <a:cxn ang="0">
                <a:pos x="103" y="0"/>
              </a:cxn>
              <a:cxn ang="0">
                <a:pos x="52" y="0"/>
              </a:cxn>
              <a:cxn ang="0">
                <a:pos x="5" y="0"/>
              </a:cxn>
              <a:cxn ang="0">
                <a:pos x="5" y="18"/>
              </a:cxn>
              <a:cxn ang="0">
                <a:pos x="5" y="37"/>
              </a:cxn>
              <a:cxn ang="0">
                <a:pos x="15" y="60"/>
              </a:cxn>
              <a:cxn ang="0">
                <a:pos x="23" y="91"/>
              </a:cxn>
              <a:cxn ang="0">
                <a:pos x="31" y="128"/>
              </a:cxn>
              <a:cxn ang="0">
                <a:pos x="38" y="172"/>
              </a:cxn>
              <a:cxn ang="0">
                <a:pos x="37" y="206"/>
              </a:cxn>
              <a:cxn ang="0">
                <a:pos x="29" y="230"/>
              </a:cxn>
              <a:cxn ang="0">
                <a:pos x="7" y="269"/>
              </a:cxn>
              <a:cxn ang="0">
                <a:pos x="10" y="321"/>
              </a:cxn>
              <a:cxn ang="0">
                <a:pos x="28" y="339"/>
              </a:cxn>
              <a:cxn ang="0">
                <a:pos x="84" y="367"/>
              </a:cxn>
              <a:cxn ang="0">
                <a:pos x="136" y="396"/>
              </a:cxn>
              <a:cxn ang="0">
                <a:pos x="170" y="420"/>
              </a:cxn>
              <a:cxn ang="0">
                <a:pos x="189" y="436"/>
              </a:cxn>
              <a:cxn ang="0">
                <a:pos x="198" y="451"/>
              </a:cxn>
              <a:cxn ang="0">
                <a:pos x="201" y="464"/>
              </a:cxn>
              <a:cxn ang="0">
                <a:pos x="209" y="479"/>
              </a:cxn>
              <a:cxn ang="0">
                <a:pos x="220" y="492"/>
              </a:cxn>
              <a:cxn ang="0">
                <a:pos x="233" y="503"/>
              </a:cxn>
              <a:cxn ang="0">
                <a:pos x="247" y="512"/>
              </a:cxn>
              <a:cxn ang="0">
                <a:pos x="264" y="519"/>
              </a:cxn>
              <a:cxn ang="0">
                <a:pos x="281" y="523"/>
              </a:cxn>
              <a:cxn ang="0">
                <a:pos x="304" y="502"/>
              </a:cxn>
              <a:cxn ang="0">
                <a:pos x="335" y="462"/>
              </a:cxn>
              <a:cxn ang="0">
                <a:pos x="365" y="427"/>
              </a:cxn>
              <a:cxn ang="0">
                <a:pos x="394" y="390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6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245350" y="2917382"/>
            <a:ext cx="101600" cy="130175"/>
          </a:xfrm>
          <a:custGeom>
            <a:avLst/>
            <a:gdLst/>
            <a:ahLst/>
            <a:cxnLst>
              <a:cxn ang="0">
                <a:pos x="12" y="228"/>
              </a:cxn>
              <a:cxn ang="0">
                <a:pos x="36" y="240"/>
              </a:cxn>
              <a:cxn ang="0">
                <a:pos x="53" y="245"/>
              </a:cxn>
              <a:cxn ang="0">
                <a:pos x="68" y="245"/>
              </a:cxn>
              <a:cxn ang="0">
                <a:pos x="85" y="241"/>
              </a:cxn>
              <a:cxn ang="0">
                <a:pos x="110" y="228"/>
              </a:cxn>
              <a:cxn ang="0">
                <a:pos x="141" y="205"/>
              </a:cxn>
              <a:cxn ang="0">
                <a:pos x="161" y="184"/>
              </a:cxn>
              <a:cxn ang="0">
                <a:pos x="159" y="173"/>
              </a:cxn>
              <a:cxn ang="0">
                <a:pos x="149" y="160"/>
              </a:cxn>
              <a:cxn ang="0">
                <a:pos x="143" y="145"/>
              </a:cxn>
              <a:cxn ang="0">
                <a:pos x="141" y="130"/>
              </a:cxn>
              <a:cxn ang="0">
                <a:pos x="141" y="116"/>
              </a:cxn>
              <a:cxn ang="0">
                <a:pos x="146" y="105"/>
              </a:cxn>
              <a:cxn ang="0">
                <a:pos x="156" y="94"/>
              </a:cxn>
              <a:cxn ang="0">
                <a:pos x="168" y="86"/>
              </a:cxn>
              <a:cxn ang="0">
                <a:pos x="204" y="71"/>
              </a:cxn>
              <a:cxn ang="0">
                <a:pos x="225" y="49"/>
              </a:cxn>
              <a:cxn ang="0">
                <a:pos x="221" y="30"/>
              </a:cxn>
              <a:cxn ang="0">
                <a:pos x="214" y="17"/>
              </a:cxn>
              <a:cxn ang="0">
                <a:pos x="212" y="6"/>
              </a:cxn>
              <a:cxn ang="0">
                <a:pos x="202" y="1"/>
              </a:cxn>
              <a:cxn ang="0">
                <a:pos x="181" y="7"/>
              </a:cxn>
              <a:cxn ang="0">
                <a:pos x="154" y="20"/>
              </a:cxn>
              <a:cxn ang="0">
                <a:pos x="121" y="38"/>
              </a:cxn>
              <a:cxn ang="0">
                <a:pos x="100" y="51"/>
              </a:cxn>
              <a:cxn ang="0">
                <a:pos x="87" y="55"/>
              </a:cxn>
              <a:cxn ang="0">
                <a:pos x="75" y="54"/>
              </a:cxn>
              <a:cxn ang="0">
                <a:pos x="59" y="47"/>
              </a:cxn>
              <a:cxn ang="0">
                <a:pos x="36" y="31"/>
              </a:cxn>
              <a:cxn ang="0">
                <a:pos x="24" y="39"/>
              </a:cxn>
              <a:cxn ang="0">
                <a:pos x="18" y="95"/>
              </a:cxn>
              <a:cxn ang="0">
                <a:pos x="10" y="163"/>
              </a:cxn>
              <a:cxn ang="0">
                <a:pos x="3" y="212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7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543814" y="3020541"/>
            <a:ext cx="22225" cy="55563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9" y="2"/>
              </a:cxn>
              <a:cxn ang="0">
                <a:pos x="32" y="3"/>
              </a:cxn>
              <a:cxn ang="0">
                <a:pos x="36" y="3"/>
              </a:cxn>
              <a:cxn ang="0">
                <a:pos x="40" y="2"/>
              </a:cxn>
              <a:cxn ang="0">
                <a:pos x="47" y="1"/>
              </a:cxn>
              <a:cxn ang="0">
                <a:pos x="53" y="0"/>
              </a:cxn>
              <a:cxn ang="0">
                <a:pos x="53" y="26"/>
              </a:cxn>
              <a:cxn ang="0">
                <a:pos x="54" y="47"/>
              </a:cxn>
              <a:cxn ang="0">
                <a:pos x="54" y="57"/>
              </a:cxn>
              <a:cxn ang="0">
                <a:pos x="56" y="65"/>
              </a:cxn>
              <a:cxn ang="0">
                <a:pos x="58" y="73"/>
              </a:cxn>
              <a:cxn ang="0">
                <a:pos x="60" y="81"/>
              </a:cxn>
              <a:cxn ang="0">
                <a:pos x="20" y="81"/>
              </a:cxn>
              <a:cxn ang="0">
                <a:pos x="14" y="80"/>
              </a:cxn>
              <a:cxn ang="0">
                <a:pos x="7" y="77"/>
              </a:cxn>
              <a:cxn ang="0">
                <a:pos x="5" y="74"/>
              </a:cxn>
              <a:cxn ang="0">
                <a:pos x="2" y="72"/>
              </a:cxn>
              <a:cxn ang="0">
                <a:pos x="1" y="70"/>
              </a:cxn>
              <a:cxn ang="0">
                <a:pos x="0" y="68"/>
              </a:cxn>
              <a:cxn ang="0">
                <a:pos x="7" y="12"/>
              </a:cxn>
              <a:cxn ang="0">
                <a:pos x="20" y="6"/>
              </a:cxn>
              <a:cxn ang="0">
                <a:pos x="34" y="0"/>
              </a:cxn>
              <a:cxn ang="0">
                <a:pos x="27" y="0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8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831026" y="2155359"/>
            <a:ext cx="161925" cy="66675"/>
          </a:xfrm>
          <a:custGeom>
            <a:avLst/>
            <a:gdLst/>
            <a:ahLst/>
            <a:cxnLst>
              <a:cxn ang="0">
                <a:pos x="250" y="117"/>
              </a:cxn>
              <a:cxn ang="0">
                <a:pos x="258" y="119"/>
              </a:cxn>
              <a:cxn ang="0">
                <a:pos x="277" y="123"/>
              </a:cxn>
              <a:cxn ang="0">
                <a:pos x="295" y="127"/>
              </a:cxn>
              <a:cxn ang="0">
                <a:pos x="303" y="129"/>
              </a:cxn>
              <a:cxn ang="0">
                <a:pos x="370" y="97"/>
              </a:cxn>
              <a:cxn ang="0">
                <a:pos x="358" y="75"/>
              </a:cxn>
              <a:cxn ang="0">
                <a:pos x="345" y="48"/>
              </a:cxn>
              <a:cxn ang="0">
                <a:pos x="335" y="27"/>
              </a:cxn>
              <a:cxn ang="0">
                <a:pos x="330" y="18"/>
              </a:cxn>
              <a:cxn ang="0">
                <a:pos x="300" y="15"/>
              </a:cxn>
              <a:cxn ang="0">
                <a:pos x="257" y="9"/>
              </a:cxn>
              <a:cxn ang="0">
                <a:pos x="214" y="2"/>
              </a:cxn>
              <a:cxn ang="0">
                <a:pos x="183" y="0"/>
              </a:cxn>
              <a:cxn ang="0">
                <a:pos x="179" y="0"/>
              </a:cxn>
              <a:cxn ang="0">
                <a:pos x="176" y="1"/>
              </a:cxn>
              <a:cxn ang="0">
                <a:pos x="172" y="2"/>
              </a:cxn>
              <a:cxn ang="0">
                <a:pos x="170" y="3"/>
              </a:cxn>
              <a:cxn ang="0">
                <a:pos x="162" y="7"/>
              </a:cxn>
              <a:cxn ang="0">
                <a:pos x="150" y="12"/>
              </a:cxn>
              <a:cxn ang="0">
                <a:pos x="147" y="21"/>
              </a:cxn>
              <a:cxn ang="0">
                <a:pos x="140" y="35"/>
              </a:cxn>
              <a:cxn ang="0">
                <a:pos x="134" y="48"/>
              </a:cxn>
              <a:cxn ang="0">
                <a:pos x="131" y="55"/>
              </a:cxn>
              <a:cxn ang="0">
                <a:pos x="122" y="54"/>
              </a:cxn>
              <a:cxn ang="0">
                <a:pos x="111" y="49"/>
              </a:cxn>
              <a:cxn ang="0">
                <a:pos x="98" y="44"/>
              </a:cxn>
              <a:cxn ang="0">
                <a:pos x="84" y="38"/>
              </a:cxn>
              <a:cxn ang="0">
                <a:pos x="60" y="26"/>
              </a:cxn>
              <a:cxn ang="0">
                <a:pos x="44" y="18"/>
              </a:cxn>
              <a:cxn ang="0">
                <a:pos x="32" y="25"/>
              </a:cxn>
              <a:cxn ang="0">
                <a:pos x="21" y="33"/>
              </a:cxn>
              <a:cxn ang="0">
                <a:pos x="16" y="37"/>
              </a:cxn>
              <a:cxn ang="0">
                <a:pos x="12" y="41"/>
              </a:cxn>
              <a:cxn ang="0">
                <a:pos x="9" y="46"/>
              </a:cxn>
              <a:cxn ang="0">
                <a:pos x="5" y="52"/>
              </a:cxn>
              <a:cxn ang="0">
                <a:pos x="3" y="57"/>
              </a:cxn>
              <a:cxn ang="0">
                <a:pos x="1" y="63"/>
              </a:cxn>
              <a:cxn ang="0">
                <a:pos x="0" y="69"/>
              </a:cxn>
              <a:cxn ang="0">
                <a:pos x="0" y="75"/>
              </a:cxn>
              <a:cxn ang="0">
                <a:pos x="1" y="82"/>
              </a:cxn>
              <a:cxn ang="0">
                <a:pos x="3" y="88"/>
              </a:cxn>
              <a:cxn ang="0">
                <a:pos x="6" y="96"/>
              </a:cxn>
              <a:cxn ang="0">
                <a:pos x="11" y="103"/>
              </a:cxn>
              <a:cxn ang="0">
                <a:pos x="20" y="101"/>
              </a:cxn>
              <a:cxn ang="0">
                <a:pos x="33" y="99"/>
              </a:cxn>
              <a:cxn ang="0">
                <a:pos x="50" y="97"/>
              </a:cxn>
              <a:cxn ang="0">
                <a:pos x="69" y="95"/>
              </a:cxn>
              <a:cxn ang="0">
                <a:pos x="102" y="92"/>
              </a:cxn>
              <a:cxn ang="0">
                <a:pos x="117" y="91"/>
              </a:cxn>
              <a:cxn ang="0">
                <a:pos x="137" y="92"/>
              </a:cxn>
              <a:cxn ang="0">
                <a:pos x="152" y="94"/>
              </a:cxn>
              <a:cxn ang="0">
                <a:pos x="166" y="97"/>
              </a:cxn>
              <a:cxn ang="0">
                <a:pos x="177" y="100"/>
              </a:cxn>
              <a:cxn ang="0">
                <a:pos x="189" y="104"/>
              </a:cxn>
              <a:cxn ang="0">
                <a:pos x="201" y="108"/>
              </a:cxn>
              <a:cxn ang="0">
                <a:pos x="217" y="110"/>
              </a:cxn>
              <a:cxn ang="0">
                <a:pos x="237" y="111"/>
              </a:cxn>
              <a:cxn ang="0">
                <a:pos x="237" y="117"/>
              </a:cxn>
              <a:cxn ang="0">
                <a:pos x="250" y="117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9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242174" y="2876079"/>
            <a:ext cx="30162" cy="57151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34" y="0"/>
              </a:cxn>
              <a:cxn ang="0">
                <a:pos x="41" y="0"/>
              </a:cxn>
              <a:cxn ang="0">
                <a:pos x="47" y="2"/>
              </a:cxn>
              <a:cxn ang="0">
                <a:pos x="54" y="4"/>
              </a:cxn>
              <a:cxn ang="0">
                <a:pos x="60" y="6"/>
              </a:cxn>
              <a:cxn ang="0">
                <a:pos x="66" y="8"/>
              </a:cxn>
              <a:cxn ang="0">
                <a:pos x="73" y="8"/>
              </a:cxn>
              <a:cxn ang="0">
                <a:pos x="80" y="7"/>
              </a:cxn>
              <a:cxn ang="0">
                <a:pos x="80" y="38"/>
              </a:cxn>
              <a:cxn ang="0">
                <a:pos x="75" y="44"/>
              </a:cxn>
              <a:cxn ang="0">
                <a:pos x="69" y="51"/>
              </a:cxn>
              <a:cxn ang="0">
                <a:pos x="64" y="59"/>
              </a:cxn>
              <a:cxn ang="0">
                <a:pos x="58" y="68"/>
              </a:cxn>
              <a:cxn ang="0">
                <a:pos x="51" y="84"/>
              </a:cxn>
              <a:cxn ang="0">
                <a:pos x="47" y="94"/>
              </a:cxn>
              <a:cxn ang="0">
                <a:pos x="43" y="93"/>
              </a:cxn>
              <a:cxn ang="0">
                <a:pos x="40" y="92"/>
              </a:cxn>
              <a:cxn ang="0">
                <a:pos x="37" y="91"/>
              </a:cxn>
              <a:cxn ang="0">
                <a:pos x="34" y="89"/>
              </a:cxn>
              <a:cxn ang="0">
                <a:pos x="29" y="84"/>
              </a:cxn>
              <a:cxn ang="0">
                <a:pos x="23" y="78"/>
              </a:cxn>
              <a:cxn ang="0">
                <a:pos x="19" y="72"/>
              </a:cxn>
              <a:cxn ang="0">
                <a:pos x="13" y="65"/>
              </a:cxn>
              <a:cxn ang="0">
                <a:pos x="7" y="60"/>
              </a:cxn>
              <a:cxn ang="0">
                <a:pos x="0" y="56"/>
              </a:cxn>
              <a:cxn ang="0">
                <a:pos x="8" y="41"/>
              </a:cxn>
              <a:cxn ang="0">
                <a:pos x="13" y="29"/>
              </a:cxn>
              <a:cxn ang="0">
                <a:pos x="19" y="17"/>
              </a:cxn>
              <a:cxn ang="0">
                <a:pos x="27" y="1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0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5058026" y="4887442"/>
            <a:ext cx="61912" cy="57151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1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829424" y="2202979"/>
            <a:ext cx="131762" cy="84139"/>
          </a:xfrm>
          <a:custGeom>
            <a:avLst/>
            <a:gdLst/>
            <a:ahLst/>
            <a:cxnLst>
              <a:cxn ang="0">
                <a:pos x="192" y="155"/>
              </a:cxn>
              <a:cxn ang="0">
                <a:pos x="194" y="151"/>
              </a:cxn>
              <a:cxn ang="0">
                <a:pos x="197" y="148"/>
              </a:cxn>
              <a:cxn ang="0">
                <a:pos x="200" y="145"/>
              </a:cxn>
              <a:cxn ang="0">
                <a:pos x="203" y="142"/>
              </a:cxn>
              <a:cxn ang="0">
                <a:pos x="211" y="137"/>
              </a:cxn>
              <a:cxn ang="0">
                <a:pos x="220" y="132"/>
              </a:cxn>
              <a:cxn ang="0">
                <a:pos x="238" y="123"/>
              </a:cxn>
              <a:cxn ang="0">
                <a:pos x="253" y="117"/>
              </a:cxn>
              <a:cxn ang="0">
                <a:pos x="255" y="109"/>
              </a:cxn>
              <a:cxn ang="0">
                <a:pos x="260" y="97"/>
              </a:cxn>
              <a:cxn ang="0">
                <a:pos x="264" y="91"/>
              </a:cxn>
              <a:cxn ang="0">
                <a:pos x="267" y="86"/>
              </a:cxn>
              <a:cxn ang="0">
                <a:pos x="269" y="82"/>
              </a:cxn>
              <a:cxn ang="0">
                <a:pos x="272" y="81"/>
              </a:cxn>
              <a:cxn ang="0">
                <a:pos x="312" y="44"/>
              </a:cxn>
              <a:cxn ang="0">
                <a:pos x="312" y="39"/>
              </a:cxn>
              <a:cxn ang="0">
                <a:pos x="310" y="35"/>
              </a:cxn>
              <a:cxn ang="0">
                <a:pos x="306" y="32"/>
              </a:cxn>
              <a:cxn ang="0">
                <a:pos x="302" y="30"/>
              </a:cxn>
              <a:cxn ang="0">
                <a:pos x="291" y="28"/>
              </a:cxn>
              <a:cxn ang="0">
                <a:pos x="280" y="27"/>
              </a:cxn>
              <a:cxn ang="0">
                <a:pos x="268" y="27"/>
              </a:cxn>
              <a:cxn ang="0">
                <a:pos x="259" y="27"/>
              </a:cxn>
              <a:cxn ang="0">
                <a:pos x="256" y="26"/>
              </a:cxn>
              <a:cxn ang="0">
                <a:pos x="253" y="25"/>
              </a:cxn>
              <a:cxn ang="0">
                <a:pos x="252" y="23"/>
              </a:cxn>
              <a:cxn ang="0">
                <a:pos x="253" y="20"/>
              </a:cxn>
              <a:cxn ang="0">
                <a:pos x="232" y="19"/>
              </a:cxn>
              <a:cxn ang="0">
                <a:pos x="216" y="17"/>
              </a:cxn>
              <a:cxn ang="0">
                <a:pos x="202" y="13"/>
              </a:cxn>
              <a:cxn ang="0">
                <a:pos x="189" y="9"/>
              </a:cxn>
              <a:cxn ang="0">
                <a:pos x="177" y="6"/>
              </a:cxn>
              <a:cxn ang="0">
                <a:pos x="163" y="3"/>
              </a:cxn>
              <a:cxn ang="0">
                <a:pos x="146" y="1"/>
              </a:cxn>
              <a:cxn ang="0">
                <a:pos x="126" y="0"/>
              </a:cxn>
              <a:cxn ang="0">
                <a:pos x="110" y="1"/>
              </a:cxn>
              <a:cxn ang="0">
                <a:pos x="74" y="4"/>
              </a:cxn>
              <a:cxn ang="0">
                <a:pos x="53" y="6"/>
              </a:cxn>
              <a:cxn ang="0">
                <a:pos x="34" y="8"/>
              </a:cxn>
              <a:cxn ang="0">
                <a:pos x="18" y="10"/>
              </a:cxn>
              <a:cxn ang="0">
                <a:pos x="7" y="12"/>
              </a:cxn>
              <a:cxn ang="0">
                <a:pos x="9" y="17"/>
              </a:cxn>
              <a:cxn ang="0">
                <a:pos x="11" y="19"/>
              </a:cxn>
              <a:cxn ang="0">
                <a:pos x="13" y="19"/>
              </a:cxn>
              <a:cxn ang="0">
                <a:pos x="15" y="20"/>
              </a:cxn>
              <a:cxn ang="0">
                <a:pos x="18" y="20"/>
              </a:cxn>
              <a:cxn ang="0">
                <a:pos x="19" y="20"/>
              </a:cxn>
              <a:cxn ang="0">
                <a:pos x="20" y="22"/>
              </a:cxn>
              <a:cxn ang="0">
                <a:pos x="20" y="26"/>
              </a:cxn>
              <a:cxn ang="0">
                <a:pos x="20" y="30"/>
              </a:cxn>
              <a:cxn ang="0">
                <a:pos x="19" y="35"/>
              </a:cxn>
              <a:cxn ang="0">
                <a:pos x="18" y="39"/>
              </a:cxn>
              <a:cxn ang="0">
                <a:pos x="15" y="42"/>
              </a:cxn>
              <a:cxn ang="0">
                <a:pos x="12" y="45"/>
              </a:cxn>
              <a:cxn ang="0">
                <a:pos x="9" y="48"/>
              </a:cxn>
              <a:cxn ang="0">
                <a:pos x="4" y="49"/>
              </a:cxn>
              <a:cxn ang="0">
                <a:pos x="0" y="50"/>
              </a:cxn>
              <a:cxn ang="0">
                <a:pos x="74" y="68"/>
              </a:cxn>
              <a:cxn ang="0">
                <a:pos x="87" y="111"/>
              </a:cxn>
              <a:cxn ang="0">
                <a:pos x="166" y="123"/>
              </a:cxn>
              <a:cxn ang="0">
                <a:pos x="192" y="155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2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535736" y="2388736"/>
            <a:ext cx="19050" cy="6032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2" y="18"/>
              </a:cxn>
              <a:cxn ang="0">
                <a:pos x="1" y="14"/>
              </a:cxn>
              <a:cxn ang="0">
                <a:pos x="2" y="13"/>
              </a:cxn>
              <a:cxn ang="0">
                <a:pos x="3" y="13"/>
              </a:cxn>
              <a:cxn ang="0">
                <a:pos x="6" y="12"/>
              </a:cxn>
              <a:cxn ang="0">
                <a:pos x="13" y="12"/>
              </a:cxn>
              <a:cxn ang="0">
                <a:pos x="46" y="0"/>
              </a:cxn>
              <a:cxn ang="0">
                <a:pos x="46" y="50"/>
              </a:cxn>
              <a:cxn ang="0">
                <a:pos x="40" y="49"/>
              </a:cxn>
              <a:cxn ang="0">
                <a:pos x="33" y="45"/>
              </a:cxn>
              <a:cxn ang="0">
                <a:pos x="25" y="41"/>
              </a:cxn>
              <a:cxn ang="0">
                <a:pos x="17" y="37"/>
              </a:cxn>
              <a:cxn ang="0">
                <a:pos x="5" y="28"/>
              </a:cxn>
              <a:cxn ang="0">
                <a:pos x="0" y="25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3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232653" y="4273079"/>
            <a:ext cx="69850" cy="241300"/>
          </a:xfrm>
          <a:custGeom>
            <a:avLst/>
            <a:gdLst/>
            <a:ahLst/>
            <a:cxnLst>
              <a:cxn ang="0">
                <a:pos x="10" y="282"/>
              </a:cxn>
              <a:cxn ang="0">
                <a:pos x="19" y="290"/>
              </a:cxn>
              <a:cxn ang="0">
                <a:pos x="37" y="300"/>
              </a:cxn>
              <a:cxn ang="0">
                <a:pos x="58" y="306"/>
              </a:cxn>
              <a:cxn ang="0">
                <a:pos x="70" y="312"/>
              </a:cxn>
              <a:cxn ang="0">
                <a:pos x="80" y="320"/>
              </a:cxn>
              <a:cxn ang="0">
                <a:pos x="86" y="331"/>
              </a:cxn>
              <a:cxn ang="0">
                <a:pos x="86" y="347"/>
              </a:cxn>
              <a:cxn ang="0">
                <a:pos x="78" y="363"/>
              </a:cxn>
              <a:cxn ang="0">
                <a:pos x="68" y="375"/>
              </a:cxn>
              <a:cxn ang="0">
                <a:pos x="62" y="388"/>
              </a:cxn>
              <a:cxn ang="0">
                <a:pos x="60" y="400"/>
              </a:cxn>
              <a:cxn ang="0">
                <a:pos x="64" y="411"/>
              </a:cxn>
              <a:cxn ang="0">
                <a:pos x="76" y="424"/>
              </a:cxn>
              <a:cxn ang="0">
                <a:pos x="104" y="445"/>
              </a:cxn>
              <a:cxn ang="0">
                <a:pos x="120" y="443"/>
              </a:cxn>
              <a:cxn ang="0">
                <a:pos x="120" y="423"/>
              </a:cxn>
              <a:cxn ang="0">
                <a:pos x="131" y="413"/>
              </a:cxn>
              <a:cxn ang="0">
                <a:pos x="145" y="407"/>
              </a:cxn>
              <a:cxn ang="0">
                <a:pos x="153" y="402"/>
              </a:cxn>
              <a:cxn ang="0">
                <a:pos x="160" y="393"/>
              </a:cxn>
              <a:cxn ang="0">
                <a:pos x="166" y="375"/>
              </a:cxn>
              <a:cxn ang="0">
                <a:pos x="165" y="350"/>
              </a:cxn>
              <a:cxn ang="0">
                <a:pos x="158" y="328"/>
              </a:cxn>
              <a:cxn ang="0">
                <a:pos x="148" y="307"/>
              </a:cxn>
              <a:cxn ang="0">
                <a:pos x="141" y="284"/>
              </a:cxn>
              <a:cxn ang="0">
                <a:pos x="135" y="269"/>
              </a:cxn>
              <a:cxn ang="0">
                <a:pos x="118" y="251"/>
              </a:cxn>
              <a:cxn ang="0">
                <a:pos x="97" y="224"/>
              </a:cxn>
              <a:cxn ang="0">
                <a:pos x="85" y="206"/>
              </a:cxn>
              <a:cxn ang="0">
                <a:pos x="80" y="195"/>
              </a:cxn>
              <a:cxn ang="0">
                <a:pos x="81" y="177"/>
              </a:cxn>
              <a:cxn ang="0">
                <a:pos x="88" y="147"/>
              </a:cxn>
              <a:cxn ang="0">
                <a:pos x="96" y="129"/>
              </a:cxn>
              <a:cxn ang="0">
                <a:pos x="98" y="113"/>
              </a:cxn>
              <a:cxn ang="0">
                <a:pos x="95" y="82"/>
              </a:cxn>
              <a:cxn ang="0">
                <a:pos x="92" y="45"/>
              </a:cxn>
              <a:cxn ang="0">
                <a:pos x="89" y="18"/>
              </a:cxn>
              <a:cxn ang="0">
                <a:pos x="71" y="8"/>
              </a:cxn>
              <a:cxn ang="0">
                <a:pos x="33" y="4"/>
              </a:cxn>
              <a:cxn ang="0">
                <a:pos x="12" y="10"/>
              </a:cxn>
              <a:cxn ang="0">
                <a:pos x="22" y="25"/>
              </a:cxn>
              <a:cxn ang="0">
                <a:pos x="33" y="30"/>
              </a:cxn>
              <a:cxn ang="0">
                <a:pos x="40" y="44"/>
              </a:cxn>
              <a:cxn ang="0">
                <a:pos x="40" y="64"/>
              </a:cxn>
              <a:cxn ang="0">
                <a:pos x="40" y="78"/>
              </a:cxn>
              <a:cxn ang="0">
                <a:pos x="36" y="85"/>
              </a:cxn>
              <a:cxn ang="0">
                <a:pos x="29" y="95"/>
              </a:cxn>
              <a:cxn ang="0">
                <a:pos x="15" y="109"/>
              </a:cxn>
              <a:cxn ang="0">
                <a:pos x="3" y="122"/>
              </a:cxn>
              <a:cxn ang="0">
                <a:pos x="7" y="277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4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724655" y="2844330"/>
            <a:ext cx="14287" cy="57151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5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5043742" y="4465194"/>
            <a:ext cx="188913" cy="217487"/>
          </a:xfrm>
          <a:custGeom>
            <a:avLst/>
            <a:gdLst/>
            <a:ahLst/>
            <a:cxnLst>
              <a:cxn ang="0">
                <a:pos x="284" y="8"/>
              </a:cxn>
              <a:cxn ang="0">
                <a:pos x="320" y="27"/>
              </a:cxn>
              <a:cxn ang="0">
                <a:pos x="363" y="47"/>
              </a:cxn>
              <a:cxn ang="0">
                <a:pos x="395" y="58"/>
              </a:cxn>
              <a:cxn ang="0">
                <a:pos x="416" y="61"/>
              </a:cxn>
              <a:cxn ang="0">
                <a:pos x="425" y="81"/>
              </a:cxn>
              <a:cxn ang="0">
                <a:pos x="429" y="120"/>
              </a:cxn>
              <a:cxn ang="0">
                <a:pos x="434" y="157"/>
              </a:cxn>
              <a:cxn ang="0">
                <a:pos x="438" y="195"/>
              </a:cxn>
              <a:cxn ang="0">
                <a:pos x="438" y="223"/>
              </a:cxn>
              <a:cxn ang="0">
                <a:pos x="435" y="237"/>
              </a:cxn>
              <a:cxn ang="0">
                <a:pos x="425" y="259"/>
              </a:cxn>
              <a:cxn ang="0">
                <a:pos x="407" y="287"/>
              </a:cxn>
              <a:cxn ang="0">
                <a:pos x="391" y="307"/>
              </a:cxn>
              <a:cxn ang="0">
                <a:pos x="381" y="320"/>
              </a:cxn>
              <a:cxn ang="0">
                <a:pos x="374" y="332"/>
              </a:cxn>
              <a:cxn ang="0">
                <a:pos x="372" y="352"/>
              </a:cxn>
              <a:cxn ang="0">
                <a:pos x="359" y="372"/>
              </a:cxn>
              <a:cxn ang="0">
                <a:pos x="321" y="401"/>
              </a:cxn>
              <a:cxn ang="0">
                <a:pos x="205" y="388"/>
              </a:cxn>
              <a:cxn ang="0">
                <a:pos x="182" y="379"/>
              </a:cxn>
              <a:cxn ang="0">
                <a:pos x="165" y="370"/>
              </a:cxn>
              <a:cxn ang="0">
                <a:pos x="150" y="359"/>
              </a:cxn>
              <a:cxn ang="0">
                <a:pos x="139" y="346"/>
              </a:cxn>
              <a:cxn ang="0">
                <a:pos x="124" y="322"/>
              </a:cxn>
              <a:cxn ang="0">
                <a:pos x="108" y="296"/>
              </a:cxn>
              <a:cxn ang="0">
                <a:pos x="94" y="279"/>
              </a:cxn>
              <a:cxn ang="0">
                <a:pos x="72" y="259"/>
              </a:cxn>
              <a:cxn ang="0">
                <a:pos x="44" y="234"/>
              </a:cxn>
              <a:cxn ang="0">
                <a:pos x="24" y="213"/>
              </a:cxn>
              <a:cxn ang="0">
                <a:pos x="13" y="195"/>
              </a:cxn>
              <a:cxn ang="0">
                <a:pos x="4" y="176"/>
              </a:cxn>
              <a:cxn ang="0">
                <a:pos x="0" y="154"/>
              </a:cxn>
              <a:cxn ang="0">
                <a:pos x="18" y="141"/>
              </a:cxn>
              <a:cxn ang="0">
                <a:pos x="40" y="141"/>
              </a:cxn>
              <a:cxn ang="0">
                <a:pos x="53" y="141"/>
              </a:cxn>
              <a:cxn ang="0">
                <a:pos x="63" y="138"/>
              </a:cxn>
              <a:cxn ang="0">
                <a:pos x="77" y="131"/>
              </a:cxn>
              <a:cxn ang="0">
                <a:pos x="99" y="108"/>
              </a:cxn>
              <a:cxn ang="0">
                <a:pos x="117" y="87"/>
              </a:cxn>
              <a:cxn ang="0">
                <a:pos x="130" y="80"/>
              </a:cxn>
              <a:cxn ang="0">
                <a:pos x="150" y="71"/>
              </a:cxn>
              <a:cxn ang="0">
                <a:pos x="179" y="60"/>
              </a:cxn>
              <a:cxn ang="0">
                <a:pos x="203" y="50"/>
              </a:cxn>
              <a:cxn ang="0">
                <a:pos x="211" y="43"/>
              </a:cxn>
              <a:cxn ang="0">
                <a:pos x="210" y="38"/>
              </a:cxn>
              <a:cxn ang="0">
                <a:pos x="211" y="30"/>
              </a:cxn>
              <a:cxn ang="0">
                <a:pos x="213" y="17"/>
              </a:cxn>
              <a:cxn ang="0">
                <a:pos x="217" y="12"/>
              </a:cxn>
              <a:cxn ang="0">
                <a:pos x="225" y="12"/>
              </a:cxn>
              <a:cxn ang="0">
                <a:pos x="232" y="9"/>
              </a:cxn>
              <a:cxn ang="0">
                <a:pos x="236" y="4"/>
              </a:cxn>
              <a:cxn ang="0">
                <a:pos x="244" y="2"/>
              </a:cxn>
              <a:cxn ang="0">
                <a:pos x="251" y="3"/>
              </a:cxn>
              <a:cxn ang="0">
                <a:pos x="264" y="1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6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956439" y="4241330"/>
            <a:ext cx="293687" cy="300039"/>
          </a:xfrm>
          <a:custGeom>
            <a:avLst/>
            <a:gdLst/>
            <a:ahLst/>
            <a:cxnLst>
              <a:cxn ang="0">
                <a:pos x="513" y="8"/>
              </a:cxn>
              <a:cxn ang="0">
                <a:pos x="552" y="26"/>
              </a:cxn>
              <a:cxn ang="0">
                <a:pos x="645" y="63"/>
              </a:cxn>
              <a:cxn ang="0">
                <a:pos x="660" y="88"/>
              </a:cxn>
              <a:cxn ang="0">
                <a:pos x="678" y="94"/>
              </a:cxn>
              <a:cxn ang="0">
                <a:pos x="678" y="127"/>
              </a:cxn>
              <a:cxn ang="0">
                <a:pos x="677" y="144"/>
              </a:cxn>
              <a:cxn ang="0">
                <a:pos x="667" y="158"/>
              </a:cxn>
              <a:cxn ang="0">
                <a:pos x="647" y="178"/>
              </a:cxn>
              <a:cxn ang="0">
                <a:pos x="638" y="346"/>
              </a:cxn>
              <a:cxn ang="0">
                <a:pos x="461" y="388"/>
              </a:cxn>
              <a:cxn ang="0">
                <a:pos x="461" y="415"/>
              </a:cxn>
              <a:cxn ang="0">
                <a:pos x="455" y="435"/>
              </a:cxn>
              <a:cxn ang="0">
                <a:pos x="444" y="435"/>
              </a:cxn>
              <a:cxn ang="0">
                <a:pos x="434" y="440"/>
              </a:cxn>
              <a:cxn ang="0">
                <a:pos x="425" y="445"/>
              </a:cxn>
              <a:cxn ang="0">
                <a:pos x="414" y="447"/>
              </a:cxn>
              <a:cxn ang="0">
                <a:pos x="411" y="463"/>
              </a:cxn>
              <a:cxn ang="0">
                <a:pos x="410" y="474"/>
              </a:cxn>
              <a:cxn ang="0">
                <a:pos x="403" y="483"/>
              </a:cxn>
              <a:cxn ang="0">
                <a:pos x="365" y="498"/>
              </a:cxn>
              <a:cxn ang="0">
                <a:pos x="330" y="513"/>
              </a:cxn>
              <a:cxn ang="0">
                <a:pos x="313" y="525"/>
              </a:cxn>
              <a:cxn ang="0">
                <a:pos x="277" y="564"/>
              </a:cxn>
              <a:cxn ang="0">
                <a:pos x="258" y="573"/>
              </a:cxn>
              <a:cxn ang="0">
                <a:pos x="238" y="574"/>
              </a:cxn>
              <a:cxn ang="0">
                <a:pos x="193" y="574"/>
              </a:cxn>
              <a:cxn ang="0">
                <a:pos x="186" y="559"/>
              </a:cxn>
              <a:cxn ang="0">
                <a:pos x="165" y="547"/>
              </a:cxn>
              <a:cxn ang="0">
                <a:pos x="133" y="545"/>
              </a:cxn>
              <a:cxn ang="0">
                <a:pos x="93" y="556"/>
              </a:cxn>
              <a:cxn ang="0">
                <a:pos x="33" y="527"/>
              </a:cxn>
              <a:cxn ang="0">
                <a:pos x="0" y="285"/>
              </a:cxn>
              <a:cxn ang="0">
                <a:pos x="73" y="286"/>
              </a:cxn>
              <a:cxn ang="0">
                <a:pos x="103" y="282"/>
              </a:cxn>
              <a:cxn ang="0">
                <a:pos x="119" y="275"/>
              </a:cxn>
              <a:cxn ang="0">
                <a:pos x="129" y="256"/>
              </a:cxn>
              <a:cxn ang="0">
                <a:pos x="131" y="229"/>
              </a:cxn>
              <a:cxn ang="0">
                <a:pos x="126" y="185"/>
              </a:cxn>
              <a:cxn ang="0">
                <a:pos x="130" y="165"/>
              </a:cxn>
              <a:cxn ang="0">
                <a:pos x="140" y="171"/>
              </a:cxn>
              <a:cxn ang="0">
                <a:pos x="174" y="175"/>
              </a:cxn>
              <a:cxn ang="0">
                <a:pos x="188" y="186"/>
              </a:cxn>
              <a:cxn ang="0">
                <a:pos x="195" y="201"/>
              </a:cxn>
              <a:cxn ang="0">
                <a:pos x="208" y="210"/>
              </a:cxn>
              <a:cxn ang="0">
                <a:pos x="241" y="217"/>
              </a:cxn>
              <a:cxn ang="0">
                <a:pos x="269" y="214"/>
              </a:cxn>
              <a:cxn ang="0">
                <a:pos x="301" y="199"/>
              </a:cxn>
              <a:cxn ang="0">
                <a:pos x="319" y="196"/>
              </a:cxn>
              <a:cxn ang="0">
                <a:pos x="331" y="193"/>
              </a:cxn>
              <a:cxn ang="0">
                <a:pos x="343" y="190"/>
              </a:cxn>
              <a:cxn ang="0">
                <a:pos x="357" y="182"/>
              </a:cxn>
              <a:cxn ang="0">
                <a:pos x="368" y="168"/>
              </a:cxn>
              <a:cxn ang="0">
                <a:pos x="383" y="126"/>
              </a:cxn>
              <a:cxn ang="0">
                <a:pos x="403" y="47"/>
              </a:cxn>
              <a:cxn ang="0">
                <a:pos x="414" y="10"/>
              </a:cxn>
              <a:cxn ang="0">
                <a:pos x="431" y="6"/>
              </a:cxn>
              <a:cxn ang="0">
                <a:pos x="453" y="8"/>
              </a:cxn>
              <a:cxn ang="0">
                <a:pos x="482" y="1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7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692914" y="4514379"/>
            <a:ext cx="350837" cy="381000"/>
          </a:xfrm>
          <a:custGeom>
            <a:avLst/>
            <a:gdLst/>
            <a:ahLst/>
            <a:cxnLst>
              <a:cxn ang="0">
                <a:pos x="797" y="42"/>
              </a:cxn>
              <a:cxn ang="0">
                <a:pos x="766" y="26"/>
              </a:cxn>
              <a:cxn ang="0">
                <a:pos x="718" y="33"/>
              </a:cxn>
              <a:cxn ang="0">
                <a:pos x="634" y="44"/>
              </a:cxn>
              <a:cxn ang="0">
                <a:pos x="604" y="55"/>
              </a:cxn>
              <a:cxn ang="0">
                <a:pos x="280" y="40"/>
              </a:cxn>
              <a:cxn ang="0">
                <a:pos x="232" y="37"/>
              </a:cxn>
              <a:cxn ang="0">
                <a:pos x="172" y="17"/>
              </a:cxn>
              <a:cxn ang="0">
                <a:pos x="116" y="0"/>
              </a:cxn>
              <a:cxn ang="0">
                <a:pos x="83" y="5"/>
              </a:cxn>
              <a:cxn ang="0">
                <a:pos x="53" y="24"/>
              </a:cxn>
              <a:cxn ang="0">
                <a:pos x="0" y="55"/>
              </a:cxn>
              <a:cxn ang="0">
                <a:pos x="7" y="68"/>
              </a:cxn>
              <a:cxn ang="0">
                <a:pos x="26" y="74"/>
              </a:cxn>
              <a:cxn ang="0">
                <a:pos x="36" y="129"/>
              </a:cxn>
              <a:cxn ang="0">
                <a:pos x="60" y="192"/>
              </a:cxn>
              <a:cxn ang="0">
                <a:pos x="109" y="276"/>
              </a:cxn>
              <a:cxn ang="0">
                <a:pos x="133" y="300"/>
              </a:cxn>
              <a:cxn ang="0">
                <a:pos x="159" y="302"/>
              </a:cxn>
              <a:cxn ang="0">
                <a:pos x="159" y="332"/>
              </a:cxn>
              <a:cxn ang="0">
                <a:pos x="152" y="359"/>
              </a:cxn>
              <a:cxn ang="0">
                <a:pos x="146" y="394"/>
              </a:cxn>
              <a:cxn ang="0">
                <a:pos x="150" y="425"/>
              </a:cxn>
              <a:cxn ang="0">
                <a:pos x="173" y="484"/>
              </a:cxn>
              <a:cxn ang="0">
                <a:pos x="179" y="518"/>
              </a:cxn>
              <a:cxn ang="0">
                <a:pos x="187" y="606"/>
              </a:cxn>
              <a:cxn ang="0">
                <a:pos x="204" y="647"/>
              </a:cxn>
              <a:cxn ang="0">
                <a:pos x="231" y="690"/>
              </a:cxn>
              <a:cxn ang="0">
                <a:pos x="245" y="700"/>
              </a:cxn>
              <a:cxn ang="0">
                <a:pos x="259" y="715"/>
              </a:cxn>
              <a:cxn ang="0">
                <a:pos x="265" y="678"/>
              </a:cxn>
              <a:cxn ang="0">
                <a:pos x="308" y="696"/>
              </a:cxn>
              <a:cxn ang="0">
                <a:pos x="328" y="713"/>
              </a:cxn>
              <a:cxn ang="0">
                <a:pos x="372" y="726"/>
              </a:cxn>
              <a:cxn ang="0">
                <a:pos x="407" y="723"/>
              </a:cxn>
              <a:cxn ang="0">
                <a:pos x="429" y="710"/>
              </a:cxn>
              <a:cxn ang="0">
                <a:pos x="452" y="675"/>
              </a:cxn>
              <a:cxn ang="0">
                <a:pos x="463" y="529"/>
              </a:cxn>
              <a:cxn ang="0">
                <a:pos x="465" y="480"/>
              </a:cxn>
              <a:cxn ang="0">
                <a:pos x="471" y="469"/>
              </a:cxn>
              <a:cxn ang="0">
                <a:pos x="463" y="426"/>
              </a:cxn>
              <a:cxn ang="0">
                <a:pos x="469" y="368"/>
              </a:cxn>
              <a:cxn ang="0">
                <a:pos x="500" y="330"/>
              </a:cxn>
              <a:cxn ang="0">
                <a:pos x="525" y="320"/>
              </a:cxn>
              <a:cxn ang="0">
                <a:pos x="538" y="232"/>
              </a:cxn>
              <a:cxn ang="0">
                <a:pos x="551" y="148"/>
              </a:cxn>
              <a:cxn ang="0">
                <a:pos x="541" y="124"/>
              </a:cxn>
              <a:cxn ang="0">
                <a:pos x="531" y="99"/>
              </a:cxn>
              <a:cxn ang="0">
                <a:pos x="539" y="86"/>
              </a:cxn>
              <a:cxn ang="0">
                <a:pos x="617" y="80"/>
              </a:cxn>
              <a:cxn ang="0">
                <a:pos x="708" y="63"/>
              </a:cxn>
              <a:cxn ang="0">
                <a:pos x="803" y="61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8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972189" y="3444404"/>
            <a:ext cx="161925" cy="141288"/>
          </a:xfrm>
          <a:custGeom>
            <a:avLst/>
            <a:gdLst/>
            <a:ahLst/>
            <a:cxnLst>
              <a:cxn ang="0">
                <a:pos x="203" y="250"/>
              </a:cxn>
              <a:cxn ang="0">
                <a:pos x="163" y="246"/>
              </a:cxn>
              <a:cxn ang="0">
                <a:pos x="121" y="247"/>
              </a:cxn>
              <a:cxn ang="0">
                <a:pos x="92" y="250"/>
              </a:cxn>
              <a:cxn ang="0">
                <a:pos x="74" y="255"/>
              </a:cxn>
              <a:cxn ang="0">
                <a:pos x="26" y="271"/>
              </a:cxn>
              <a:cxn ang="0">
                <a:pos x="20" y="270"/>
              </a:cxn>
              <a:cxn ang="0">
                <a:pos x="17" y="266"/>
              </a:cxn>
              <a:cxn ang="0">
                <a:pos x="18" y="254"/>
              </a:cxn>
              <a:cxn ang="0">
                <a:pos x="26" y="228"/>
              </a:cxn>
              <a:cxn ang="0">
                <a:pos x="61" y="226"/>
              </a:cxn>
              <a:cxn ang="0">
                <a:pos x="89" y="222"/>
              </a:cxn>
              <a:cxn ang="0">
                <a:pos x="115" y="218"/>
              </a:cxn>
              <a:cxn ang="0">
                <a:pos x="146" y="216"/>
              </a:cxn>
              <a:cxn ang="0">
                <a:pos x="182" y="218"/>
              </a:cxn>
              <a:cxn ang="0">
                <a:pos x="199" y="218"/>
              </a:cxn>
              <a:cxn ang="0">
                <a:pos x="219" y="216"/>
              </a:cxn>
              <a:cxn ang="0">
                <a:pos x="215" y="208"/>
              </a:cxn>
              <a:cxn ang="0">
                <a:pos x="210" y="201"/>
              </a:cxn>
              <a:cxn ang="0">
                <a:pos x="195" y="194"/>
              </a:cxn>
              <a:cxn ang="0">
                <a:pos x="175" y="191"/>
              </a:cxn>
              <a:cxn ang="0">
                <a:pos x="152" y="190"/>
              </a:cxn>
              <a:cxn ang="0">
                <a:pos x="93" y="192"/>
              </a:cxn>
              <a:cxn ang="0">
                <a:pos x="64" y="196"/>
              </a:cxn>
              <a:cxn ang="0">
                <a:pos x="33" y="203"/>
              </a:cxn>
              <a:cxn ang="0">
                <a:pos x="38" y="183"/>
              </a:cxn>
              <a:cxn ang="0">
                <a:pos x="39" y="172"/>
              </a:cxn>
              <a:cxn ang="0">
                <a:pos x="26" y="164"/>
              </a:cxn>
              <a:cxn ang="0">
                <a:pos x="13" y="160"/>
              </a:cxn>
              <a:cxn ang="0">
                <a:pos x="11" y="147"/>
              </a:cxn>
              <a:cxn ang="0">
                <a:pos x="6" y="143"/>
              </a:cxn>
              <a:cxn ang="0">
                <a:pos x="2" y="141"/>
              </a:cxn>
              <a:cxn ang="0">
                <a:pos x="0" y="135"/>
              </a:cxn>
              <a:cxn ang="0">
                <a:pos x="5" y="115"/>
              </a:cxn>
              <a:cxn ang="0">
                <a:pos x="17" y="92"/>
              </a:cxn>
              <a:cxn ang="0">
                <a:pos x="30" y="69"/>
              </a:cxn>
              <a:cxn ang="0">
                <a:pos x="39" y="49"/>
              </a:cxn>
              <a:cxn ang="0">
                <a:pos x="48" y="42"/>
              </a:cxn>
              <a:cxn ang="0">
                <a:pos x="49" y="48"/>
              </a:cxn>
              <a:cxn ang="0">
                <a:pos x="52" y="36"/>
              </a:cxn>
              <a:cxn ang="0">
                <a:pos x="75" y="31"/>
              </a:cxn>
              <a:cxn ang="0">
                <a:pos x="114" y="18"/>
              </a:cxn>
              <a:cxn ang="0">
                <a:pos x="165" y="0"/>
              </a:cxn>
              <a:cxn ang="0">
                <a:pos x="184" y="15"/>
              </a:cxn>
              <a:cxn ang="0">
                <a:pos x="202" y="24"/>
              </a:cxn>
              <a:cxn ang="0">
                <a:pos x="220" y="29"/>
              </a:cxn>
              <a:cxn ang="0">
                <a:pos x="239" y="30"/>
              </a:cxn>
              <a:cxn ang="0">
                <a:pos x="241" y="52"/>
              </a:cxn>
              <a:cxn ang="0">
                <a:pos x="247" y="69"/>
              </a:cxn>
              <a:cxn ang="0">
                <a:pos x="254" y="84"/>
              </a:cxn>
              <a:cxn ang="0">
                <a:pos x="264" y="95"/>
              </a:cxn>
              <a:cxn ang="0">
                <a:pos x="305" y="129"/>
              </a:cxn>
              <a:cxn ang="0">
                <a:pos x="352" y="234"/>
              </a:cxn>
              <a:cxn ang="0">
                <a:pos x="359" y="257"/>
              </a:cxn>
              <a:cxn ang="0">
                <a:pos x="365" y="271"/>
              </a:cxn>
              <a:cxn ang="0">
                <a:pos x="321" y="259"/>
              </a:cxn>
              <a:cxn ang="0">
                <a:pos x="275" y="252"/>
              </a:cxn>
              <a:cxn ang="0">
                <a:pos x="248" y="251"/>
              </a:cxn>
              <a:cxn ang="0">
                <a:pos x="219" y="252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9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5145351" y="4006393"/>
            <a:ext cx="269875" cy="334963"/>
          </a:xfrm>
          <a:custGeom>
            <a:avLst/>
            <a:gdLst/>
            <a:ahLst/>
            <a:cxnLst>
              <a:cxn ang="0">
                <a:pos x="146" y="12"/>
              </a:cxn>
              <a:cxn ang="0">
                <a:pos x="239" y="12"/>
              </a:cxn>
              <a:cxn ang="0">
                <a:pos x="287" y="5"/>
              </a:cxn>
              <a:cxn ang="0">
                <a:pos x="326" y="22"/>
              </a:cxn>
              <a:cxn ang="0">
                <a:pos x="396" y="66"/>
              </a:cxn>
              <a:cxn ang="0">
                <a:pos x="465" y="111"/>
              </a:cxn>
              <a:cxn ang="0">
                <a:pos x="469" y="131"/>
              </a:cxn>
              <a:cxn ang="0">
                <a:pos x="480" y="153"/>
              </a:cxn>
              <a:cxn ang="0">
                <a:pos x="497" y="170"/>
              </a:cxn>
              <a:cxn ang="0">
                <a:pos x="519" y="183"/>
              </a:cxn>
              <a:cxn ang="0">
                <a:pos x="543" y="190"/>
              </a:cxn>
              <a:cxn ang="0">
                <a:pos x="554" y="195"/>
              </a:cxn>
              <a:cxn ang="0">
                <a:pos x="565" y="205"/>
              </a:cxn>
              <a:cxn ang="0">
                <a:pos x="561" y="227"/>
              </a:cxn>
              <a:cxn ang="0">
                <a:pos x="537" y="252"/>
              </a:cxn>
              <a:cxn ang="0">
                <a:pos x="525" y="271"/>
              </a:cxn>
              <a:cxn ang="0">
                <a:pos x="533" y="287"/>
              </a:cxn>
              <a:cxn ang="0">
                <a:pos x="547" y="299"/>
              </a:cxn>
              <a:cxn ang="0">
                <a:pos x="552" y="425"/>
              </a:cxn>
              <a:cxn ang="0">
                <a:pos x="550" y="439"/>
              </a:cxn>
              <a:cxn ang="0">
                <a:pos x="558" y="462"/>
              </a:cxn>
              <a:cxn ang="0">
                <a:pos x="558" y="489"/>
              </a:cxn>
              <a:cxn ang="0">
                <a:pos x="561" y="515"/>
              </a:cxn>
              <a:cxn ang="0">
                <a:pos x="594" y="549"/>
              </a:cxn>
              <a:cxn ang="0">
                <a:pos x="616" y="579"/>
              </a:cxn>
              <a:cxn ang="0">
                <a:pos x="575" y="600"/>
              </a:cxn>
              <a:cxn ang="0">
                <a:pos x="491" y="631"/>
              </a:cxn>
              <a:cxn ang="0">
                <a:pos x="443" y="638"/>
              </a:cxn>
              <a:cxn ang="0">
                <a:pos x="392" y="628"/>
              </a:cxn>
              <a:cxn ang="0">
                <a:pos x="339" y="633"/>
              </a:cxn>
              <a:cxn ang="0">
                <a:pos x="306" y="628"/>
              </a:cxn>
              <a:cxn ang="0">
                <a:pos x="299" y="614"/>
              </a:cxn>
              <a:cxn ang="0">
                <a:pos x="294" y="573"/>
              </a:cxn>
              <a:cxn ang="0">
                <a:pos x="288" y="529"/>
              </a:cxn>
              <a:cxn ang="0">
                <a:pos x="253" y="517"/>
              </a:cxn>
              <a:cxn ang="0">
                <a:pos x="185" y="502"/>
              </a:cxn>
              <a:cxn ang="0">
                <a:pos x="90" y="459"/>
              </a:cxn>
              <a:cxn ang="0">
                <a:pos x="68" y="446"/>
              </a:cxn>
              <a:cxn ang="0">
                <a:pos x="66" y="428"/>
              </a:cxn>
              <a:cxn ang="0">
                <a:pos x="65" y="402"/>
              </a:cxn>
              <a:cxn ang="0">
                <a:pos x="53" y="377"/>
              </a:cxn>
              <a:cxn ang="0">
                <a:pos x="41" y="357"/>
              </a:cxn>
              <a:cxn ang="0">
                <a:pos x="27" y="347"/>
              </a:cxn>
              <a:cxn ang="0">
                <a:pos x="12" y="332"/>
              </a:cxn>
              <a:cxn ang="0">
                <a:pos x="5" y="308"/>
              </a:cxn>
              <a:cxn ang="0">
                <a:pos x="0" y="262"/>
              </a:cxn>
              <a:cxn ang="0">
                <a:pos x="0" y="234"/>
              </a:cxn>
              <a:cxn ang="0">
                <a:pos x="10" y="212"/>
              </a:cxn>
              <a:cxn ang="0">
                <a:pos x="38" y="195"/>
              </a:cxn>
              <a:cxn ang="0">
                <a:pos x="61" y="173"/>
              </a:cxn>
              <a:cxn ang="0">
                <a:pos x="77" y="77"/>
              </a:cxn>
              <a:cxn ang="0">
                <a:pos x="84" y="43"/>
              </a:cxn>
              <a:cxn ang="0">
                <a:pos x="82" y="8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0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709149" y="2520479"/>
            <a:ext cx="19050" cy="57151"/>
          </a:xfrm>
          <a:custGeom>
            <a:avLst/>
            <a:gdLst/>
            <a:ahLst/>
            <a:cxnLst>
              <a:cxn ang="0">
                <a:pos x="13" y="50"/>
              </a:cxn>
              <a:cxn ang="0">
                <a:pos x="0" y="32"/>
              </a:cxn>
              <a:cxn ang="0">
                <a:pos x="2" y="25"/>
              </a:cxn>
              <a:cxn ang="0">
                <a:pos x="6" y="18"/>
              </a:cxn>
              <a:cxn ang="0">
                <a:pos x="12" y="13"/>
              </a:cxn>
              <a:cxn ang="0">
                <a:pos x="18" y="9"/>
              </a:cxn>
              <a:cxn ang="0">
                <a:pos x="26" y="5"/>
              </a:cxn>
              <a:cxn ang="0">
                <a:pos x="34" y="3"/>
              </a:cxn>
              <a:cxn ang="0">
                <a:pos x="43" y="1"/>
              </a:cxn>
              <a:cxn ang="0">
                <a:pos x="52" y="0"/>
              </a:cxn>
              <a:cxn ang="0">
                <a:pos x="40" y="11"/>
              </a:cxn>
              <a:cxn ang="0">
                <a:pos x="27" y="22"/>
              </a:cxn>
              <a:cxn ang="0">
                <a:pos x="22" y="30"/>
              </a:cxn>
              <a:cxn ang="0">
                <a:pos x="17" y="36"/>
              </a:cxn>
              <a:cxn ang="0">
                <a:pos x="14" y="43"/>
              </a:cxn>
              <a:cxn ang="0">
                <a:pos x="13" y="50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1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567861" y="2522067"/>
            <a:ext cx="141288" cy="125412"/>
          </a:xfrm>
          <a:custGeom>
            <a:avLst/>
            <a:gdLst/>
            <a:ahLst/>
            <a:cxnLst>
              <a:cxn ang="0">
                <a:pos x="76" y="231"/>
              </a:cxn>
              <a:cxn ang="0">
                <a:pos x="61" y="226"/>
              </a:cxn>
              <a:cxn ang="0">
                <a:pos x="66" y="222"/>
              </a:cxn>
              <a:cxn ang="0">
                <a:pos x="77" y="217"/>
              </a:cxn>
              <a:cxn ang="0">
                <a:pos x="64" y="204"/>
              </a:cxn>
              <a:cxn ang="0">
                <a:pos x="43" y="189"/>
              </a:cxn>
              <a:cxn ang="0">
                <a:pos x="36" y="179"/>
              </a:cxn>
              <a:cxn ang="0">
                <a:pos x="34" y="171"/>
              </a:cxn>
              <a:cxn ang="0">
                <a:pos x="34" y="164"/>
              </a:cxn>
              <a:cxn ang="0">
                <a:pos x="36" y="157"/>
              </a:cxn>
              <a:cxn ang="0">
                <a:pos x="43" y="149"/>
              </a:cxn>
              <a:cxn ang="0">
                <a:pos x="56" y="141"/>
              </a:cxn>
              <a:cxn ang="0">
                <a:pos x="73" y="137"/>
              </a:cxn>
              <a:cxn ang="0">
                <a:pos x="80" y="126"/>
              </a:cxn>
              <a:cxn ang="0">
                <a:pos x="67" y="111"/>
              </a:cxn>
              <a:cxn ang="0">
                <a:pos x="61" y="102"/>
              </a:cxn>
              <a:cxn ang="0">
                <a:pos x="60" y="86"/>
              </a:cxn>
              <a:cxn ang="0">
                <a:pos x="55" y="70"/>
              </a:cxn>
              <a:cxn ang="0">
                <a:pos x="46" y="46"/>
              </a:cxn>
              <a:cxn ang="0">
                <a:pos x="33" y="31"/>
              </a:cxn>
              <a:cxn ang="0">
                <a:pos x="20" y="25"/>
              </a:cxn>
              <a:cxn ang="0">
                <a:pos x="7" y="10"/>
              </a:cxn>
              <a:cxn ang="0">
                <a:pos x="9" y="0"/>
              </a:cxn>
              <a:cxn ang="0">
                <a:pos x="24" y="0"/>
              </a:cxn>
              <a:cxn ang="0">
                <a:pos x="38" y="3"/>
              </a:cxn>
              <a:cxn ang="0">
                <a:pos x="56" y="16"/>
              </a:cxn>
              <a:cxn ang="0">
                <a:pos x="78" y="35"/>
              </a:cxn>
              <a:cxn ang="0">
                <a:pos x="96" y="48"/>
              </a:cxn>
              <a:cxn ang="0">
                <a:pos x="119" y="58"/>
              </a:cxn>
              <a:cxn ang="0">
                <a:pos x="152" y="70"/>
              </a:cxn>
              <a:cxn ang="0">
                <a:pos x="181" y="79"/>
              </a:cxn>
              <a:cxn ang="0">
                <a:pos x="214" y="85"/>
              </a:cxn>
              <a:cxn ang="0">
                <a:pos x="236" y="77"/>
              </a:cxn>
              <a:cxn ang="0">
                <a:pos x="257" y="83"/>
              </a:cxn>
              <a:cxn ang="0">
                <a:pos x="284" y="107"/>
              </a:cxn>
              <a:cxn ang="0">
                <a:pos x="305" y="119"/>
              </a:cxn>
              <a:cxn ang="0">
                <a:pos x="297" y="133"/>
              </a:cxn>
              <a:cxn ang="0">
                <a:pos x="268" y="144"/>
              </a:cxn>
              <a:cxn ang="0">
                <a:pos x="249" y="148"/>
              </a:cxn>
              <a:cxn ang="0">
                <a:pos x="237" y="159"/>
              </a:cxn>
              <a:cxn ang="0">
                <a:pos x="232" y="176"/>
              </a:cxn>
              <a:cxn ang="0">
                <a:pos x="231" y="187"/>
              </a:cxn>
              <a:cxn ang="0">
                <a:pos x="222" y="192"/>
              </a:cxn>
              <a:cxn ang="0">
                <a:pos x="204" y="189"/>
              </a:cxn>
              <a:cxn ang="0">
                <a:pos x="186" y="181"/>
              </a:cxn>
              <a:cxn ang="0">
                <a:pos x="168" y="170"/>
              </a:cxn>
              <a:cxn ang="0">
                <a:pos x="155" y="164"/>
              </a:cxn>
              <a:cxn ang="0">
                <a:pos x="145" y="161"/>
              </a:cxn>
              <a:cxn ang="0">
                <a:pos x="131" y="162"/>
              </a:cxn>
              <a:cxn ang="0">
                <a:pos x="114" y="167"/>
              </a:cxn>
              <a:cxn ang="0">
                <a:pos x="100" y="173"/>
              </a:cxn>
              <a:cxn ang="0">
                <a:pos x="87" y="178"/>
              </a:cxn>
              <a:cxn ang="0">
                <a:pos x="85" y="183"/>
              </a:cxn>
              <a:cxn ang="0">
                <a:pos x="96" y="191"/>
              </a:cxn>
              <a:cxn ang="0">
                <a:pos x="116" y="200"/>
              </a:cxn>
              <a:cxn ang="0">
                <a:pos x="126" y="212"/>
              </a:cxn>
              <a:cxn ang="0">
                <a:pos x="113" y="224"/>
              </a:cxn>
              <a:cxn ang="0">
                <a:pos x="102" y="231"/>
              </a:cxn>
              <a:cxn ang="0">
                <a:pos x="91" y="234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2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537714" y="2876079"/>
            <a:ext cx="52387" cy="57151"/>
          </a:xfrm>
          <a:custGeom>
            <a:avLst/>
            <a:gdLst/>
            <a:ahLst/>
            <a:cxnLst>
              <a:cxn ang="0">
                <a:pos x="33" y="19"/>
              </a:cxn>
              <a:cxn ang="0">
                <a:pos x="43" y="19"/>
              </a:cxn>
              <a:cxn ang="0">
                <a:pos x="52" y="19"/>
              </a:cxn>
              <a:cxn ang="0">
                <a:pos x="55" y="19"/>
              </a:cxn>
              <a:cxn ang="0">
                <a:pos x="58" y="17"/>
              </a:cxn>
              <a:cxn ang="0">
                <a:pos x="61" y="15"/>
              </a:cxn>
              <a:cxn ang="0">
                <a:pos x="65" y="11"/>
              </a:cxn>
              <a:cxn ang="0">
                <a:pos x="68" y="8"/>
              </a:cxn>
              <a:cxn ang="0">
                <a:pos x="70" y="5"/>
              </a:cxn>
              <a:cxn ang="0">
                <a:pos x="72" y="3"/>
              </a:cxn>
              <a:cxn ang="0">
                <a:pos x="72" y="0"/>
              </a:cxn>
              <a:cxn ang="0">
                <a:pos x="118" y="0"/>
              </a:cxn>
              <a:cxn ang="0">
                <a:pos x="122" y="15"/>
              </a:cxn>
              <a:cxn ang="0">
                <a:pos x="125" y="25"/>
              </a:cxn>
              <a:cxn ang="0">
                <a:pos x="124" y="29"/>
              </a:cxn>
              <a:cxn ang="0">
                <a:pos x="122" y="33"/>
              </a:cxn>
              <a:cxn ang="0">
                <a:pos x="119" y="35"/>
              </a:cxn>
              <a:cxn ang="0">
                <a:pos x="117" y="37"/>
              </a:cxn>
              <a:cxn ang="0">
                <a:pos x="111" y="40"/>
              </a:cxn>
              <a:cxn ang="0">
                <a:pos x="104" y="41"/>
              </a:cxn>
              <a:cxn ang="0">
                <a:pos x="88" y="41"/>
              </a:cxn>
              <a:cxn ang="0">
                <a:pos x="72" y="43"/>
              </a:cxn>
              <a:cxn ang="0">
                <a:pos x="70" y="47"/>
              </a:cxn>
              <a:cxn ang="0">
                <a:pos x="69" y="53"/>
              </a:cxn>
              <a:cxn ang="0">
                <a:pos x="67" y="61"/>
              </a:cxn>
              <a:cxn ang="0">
                <a:pos x="67" y="71"/>
              </a:cxn>
              <a:cxn ang="0">
                <a:pos x="66" y="86"/>
              </a:cxn>
              <a:cxn ang="0">
                <a:pos x="66" y="93"/>
              </a:cxn>
              <a:cxn ang="0">
                <a:pos x="49" y="85"/>
              </a:cxn>
              <a:cxn ang="0">
                <a:pos x="27" y="73"/>
              </a:cxn>
              <a:cxn ang="0">
                <a:pos x="16" y="65"/>
              </a:cxn>
              <a:cxn ang="0">
                <a:pos x="7" y="58"/>
              </a:cxn>
              <a:cxn ang="0">
                <a:pos x="4" y="54"/>
              </a:cxn>
              <a:cxn ang="0">
                <a:pos x="2" y="50"/>
              </a:cxn>
              <a:cxn ang="0">
                <a:pos x="0" y="47"/>
              </a:cxn>
              <a:cxn ang="0">
                <a:pos x="0" y="43"/>
              </a:cxn>
              <a:cxn ang="0">
                <a:pos x="7" y="43"/>
              </a:cxn>
              <a:cxn ang="0">
                <a:pos x="15" y="41"/>
              </a:cxn>
              <a:cxn ang="0">
                <a:pos x="20" y="39"/>
              </a:cxn>
              <a:cxn ang="0">
                <a:pos x="23" y="36"/>
              </a:cxn>
              <a:cxn ang="0">
                <a:pos x="28" y="28"/>
              </a:cxn>
              <a:cxn ang="0">
                <a:pos x="33" y="19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3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483728" y="2890394"/>
            <a:ext cx="60325" cy="84137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4" y="10"/>
              </a:cxn>
              <a:cxn ang="0">
                <a:pos x="31" y="6"/>
              </a:cxn>
              <a:cxn ang="0">
                <a:pos x="34" y="4"/>
              </a:cxn>
              <a:cxn ang="0">
                <a:pos x="37" y="2"/>
              </a:cxn>
              <a:cxn ang="0">
                <a:pos x="42" y="1"/>
              </a:cxn>
              <a:cxn ang="0">
                <a:pos x="46" y="0"/>
              </a:cxn>
              <a:cxn ang="0">
                <a:pos x="59" y="1"/>
              </a:cxn>
              <a:cxn ang="0">
                <a:pos x="70" y="4"/>
              </a:cxn>
              <a:cxn ang="0">
                <a:pos x="81" y="8"/>
              </a:cxn>
              <a:cxn ang="0">
                <a:pos x="90" y="14"/>
              </a:cxn>
              <a:cxn ang="0">
                <a:pos x="99" y="21"/>
              </a:cxn>
              <a:cxn ang="0">
                <a:pos x="105" y="30"/>
              </a:cxn>
              <a:cxn ang="0">
                <a:pos x="112" y="40"/>
              </a:cxn>
              <a:cxn ang="0">
                <a:pos x="116" y="50"/>
              </a:cxn>
              <a:cxn ang="0">
                <a:pos x="121" y="60"/>
              </a:cxn>
              <a:cxn ang="0">
                <a:pos x="124" y="71"/>
              </a:cxn>
              <a:cxn ang="0">
                <a:pos x="127" y="82"/>
              </a:cxn>
              <a:cxn ang="0">
                <a:pos x="130" y="94"/>
              </a:cxn>
              <a:cxn ang="0">
                <a:pos x="132" y="116"/>
              </a:cxn>
              <a:cxn ang="0">
                <a:pos x="133" y="135"/>
              </a:cxn>
              <a:cxn ang="0">
                <a:pos x="132" y="138"/>
              </a:cxn>
              <a:cxn ang="0">
                <a:pos x="130" y="141"/>
              </a:cxn>
              <a:cxn ang="0">
                <a:pos x="125" y="144"/>
              </a:cxn>
              <a:cxn ang="0">
                <a:pos x="121" y="147"/>
              </a:cxn>
              <a:cxn ang="0">
                <a:pos x="115" y="150"/>
              </a:cxn>
              <a:cxn ang="0">
                <a:pos x="110" y="153"/>
              </a:cxn>
              <a:cxn ang="0">
                <a:pos x="104" y="154"/>
              </a:cxn>
              <a:cxn ang="0">
                <a:pos x="99" y="154"/>
              </a:cxn>
              <a:cxn ang="0">
                <a:pos x="93" y="153"/>
              </a:cxn>
              <a:cxn ang="0">
                <a:pos x="87" y="149"/>
              </a:cxn>
              <a:cxn ang="0">
                <a:pos x="79" y="141"/>
              </a:cxn>
              <a:cxn ang="0">
                <a:pos x="71" y="134"/>
              </a:cxn>
              <a:cxn ang="0">
                <a:pos x="64" y="126"/>
              </a:cxn>
              <a:cxn ang="0">
                <a:pos x="58" y="118"/>
              </a:cxn>
              <a:cxn ang="0">
                <a:pos x="54" y="111"/>
              </a:cxn>
              <a:cxn ang="0">
                <a:pos x="53" y="105"/>
              </a:cxn>
              <a:cxn ang="0">
                <a:pos x="54" y="98"/>
              </a:cxn>
              <a:cxn ang="0">
                <a:pos x="56" y="83"/>
              </a:cxn>
              <a:cxn ang="0">
                <a:pos x="58" y="68"/>
              </a:cxn>
              <a:cxn ang="0">
                <a:pos x="59" y="62"/>
              </a:cxn>
              <a:cxn ang="0">
                <a:pos x="47" y="61"/>
              </a:cxn>
              <a:cxn ang="0">
                <a:pos x="36" y="59"/>
              </a:cxn>
              <a:cxn ang="0">
                <a:pos x="25" y="56"/>
              </a:cxn>
              <a:cxn ang="0">
                <a:pos x="17" y="52"/>
              </a:cxn>
              <a:cxn ang="0">
                <a:pos x="13" y="49"/>
              </a:cxn>
              <a:cxn ang="0">
                <a:pos x="10" y="46"/>
              </a:cxn>
              <a:cxn ang="0">
                <a:pos x="7" y="43"/>
              </a:cxn>
              <a:cxn ang="0">
                <a:pos x="4" y="39"/>
              </a:cxn>
              <a:cxn ang="0">
                <a:pos x="2" y="34"/>
              </a:cxn>
              <a:cxn ang="0">
                <a:pos x="1" y="29"/>
              </a:cxn>
              <a:cxn ang="0">
                <a:pos x="0" y="24"/>
              </a:cxn>
              <a:cxn ang="0">
                <a:pos x="0" y="18"/>
              </a:cxn>
              <a:cxn ang="0">
                <a:pos x="7" y="15"/>
              </a:cxn>
              <a:cxn ang="0">
                <a:pos x="20" y="12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4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499599" y="2652269"/>
            <a:ext cx="209550" cy="244475"/>
          </a:xfrm>
          <a:custGeom>
            <a:avLst/>
            <a:gdLst/>
            <a:ahLst/>
            <a:cxnLst>
              <a:cxn ang="0">
                <a:pos x="134" y="351"/>
              </a:cxn>
              <a:cxn ang="0">
                <a:pos x="167" y="339"/>
              </a:cxn>
              <a:cxn ang="0">
                <a:pos x="200" y="339"/>
              </a:cxn>
              <a:cxn ang="0">
                <a:pos x="226" y="348"/>
              </a:cxn>
              <a:cxn ang="0">
                <a:pos x="224" y="327"/>
              </a:cxn>
              <a:cxn ang="0">
                <a:pos x="220" y="316"/>
              </a:cxn>
              <a:cxn ang="0">
                <a:pos x="233" y="303"/>
              </a:cxn>
              <a:cxn ang="0">
                <a:pos x="239" y="276"/>
              </a:cxn>
              <a:cxn ang="0">
                <a:pos x="242" y="246"/>
              </a:cxn>
              <a:cxn ang="0">
                <a:pos x="268" y="255"/>
              </a:cxn>
              <a:cxn ang="0">
                <a:pos x="300" y="238"/>
              </a:cxn>
              <a:cxn ang="0">
                <a:pos x="316" y="217"/>
              </a:cxn>
              <a:cxn ang="0">
                <a:pos x="293" y="194"/>
              </a:cxn>
              <a:cxn ang="0">
                <a:pos x="318" y="199"/>
              </a:cxn>
              <a:cxn ang="0">
                <a:pos x="343" y="202"/>
              </a:cxn>
              <a:cxn ang="0">
                <a:pos x="346" y="185"/>
              </a:cxn>
              <a:cxn ang="0">
                <a:pos x="295" y="96"/>
              </a:cxn>
              <a:cxn ang="0">
                <a:pos x="285" y="53"/>
              </a:cxn>
              <a:cxn ang="0">
                <a:pos x="291" y="19"/>
              </a:cxn>
              <a:cxn ang="0">
                <a:pos x="316" y="1"/>
              </a:cxn>
              <a:cxn ang="0">
                <a:pos x="336" y="18"/>
              </a:cxn>
              <a:cxn ang="0">
                <a:pos x="377" y="45"/>
              </a:cxn>
              <a:cxn ang="0">
                <a:pos x="415" y="72"/>
              </a:cxn>
              <a:cxn ang="0">
                <a:pos x="426" y="98"/>
              </a:cxn>
              <a:cxn ang="0">
                <a:pos x="436" y="137"/>
              </a:cxn>
              <a:cxn ang="0">
                <a:pos x="445" y="173"/>
              </a:cxn>
              <a:cxn ang="0">
                <a:pos x="428" y="179"/>
              </a:cxn>
              <a:cxn ang="0">
                <a:pos x="412" y="185"/>
              </a:cxn>
              <a:cxn ang="0">
                <a:pos x="426" y="199"/>
              </a:cxn>
              <a:cxn ang="0">
                <a:pos x="445" y="203"/>
              </a:cxn>
              <a:cxn ang="0">
                <a:pos x="455" y="262"/>
              </a:cxn>
              <a:cxn ang="0">
                <a:pos x="475" y="312"/>
              </a:cxn>
              <a:cxn ang="0">
                <a:pos x="480" y="381"/>
              </a:cxn>
              <a:cxn ang="0">
                <a:pos x="463" y="364"/>
              </a:cxn>
              <a:cxn ang="0">
                <a:pos x="453" y="356"/>
              </a:cxn>
              <a:cxn ang="0">
                <a:pos x="436" y="363"/>
              </a:cxn>
              <a:cxn ang="0">
                <a:pos x="429" y="399"/>
              </a:cxn>
              <a:cxn ang="0">
                <a:pos x="408" y="389"/>
              </a:cxn>
              <a:cxn ang="0">
                <a:pos x="389" y="382"/>
              </a:cxn>
              <a:cxn ang="0">
                <a:pos x="376" y="402"/>
              </a:cxn>
              <a:cxn ang="0">
                <a:pos x="345" y="413"/>
              </a:cxn>
              <a:cxn ang="0">
                <a:pos x="334" y="400"/>
              </a:cxn>
              <a:cxn ang="0">
                <a:pos x="312" y="395"/>
              </a:cxn>
              <a:cxn ang="0">
                <a:pos x="303" y="426"/>
              </a:cxn>
              <a:cxn ang="0">
                <a:pos x="299" y="450"/>
              </a:cxn>
              <a:cxn ang="0">
                <a:pos x="307" y="466"/>
              </a:cxn>
              <a:cxn ang="0">
                <a:pos x="272" y="468"/>
              </a:cxn>
              <a:cxn ang="0">
                <a:pos x="258" y="465"/>
              </a:cxn>
              <a:cxn ang="0">
                <a:pos x="244" y="440"/>
              </a:cxn>
              <a:cxn ang="0">
                <a:pos x="229" y="418"/>
              </a:cxn>
              <a:cxn ang="0">
                <a:pos x="204" y="406"/>
              </a:cxn>
              <a:cxn ang="0">
                <a:pos x="190" y="394"/>
              </a:cxn>
              <a:cxn ang="0">
                <a:pos x="136" y="417"/>
              </a:cxn>
              <a:cxn ang="0">
                <a:pos x="90" y="435"/>
              </a:cxn>
              <a:cxn ang="0">
                <a:pos x="65" y="459"/>
              </a:cxn>
              <a:cxn ang="0">
                <a:pos x="27" y="461"/>
              </a:cxn>
              <a:cxn ang="0">
                <a:pos x="7" y="438"/>
              </a:cxn>
              <a:cxn ang="0">
                <a:pos x="0" y="417"/>
              </a:cxn>
              <a:cxn ang="0">
                <a:pos x="7" y="413"/>
              </a:cxn>
              <a:cxn ang="0">
                <a:pos x="27" y="414"/>
              </a:cxn>
              <a:cxn ang="0">
                <a:pos x="48" y="405"/>
              </a:cxn>
              <a:cxn ang="0">
                <a:pos x="72" y="369"/>
              </a:cxn>
              <a:cxn ang="0">
                <a:pos x="93" y="352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5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5083424" y="1542606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6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226299" y="1525118"/>
            <a:ext cx="63500" cy="57151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7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262826" y="1533054"/>
            <a:ext cx="130175" cy="57151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8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796226" y="1718793"/>
            <a:ext cx="41275" cy="57151"/>
          </a:xfrm>
          <a:custGeom>
            <a:avLst/>
            <a:gdLst/>
            <a:ahLst/>
            <a:cxnLst>
              <a:cxn ang="0">
                <a:pos x="93" y="0"/>
              </a:cxn>
              <a:cxn ang="0">
                <a:pos x="97" y="7"/>
              </a:cxn>
              <a:cxn ang="0">
                <a:pos x="100" y="18"/>
              </a:cxn>
              <a:cxn ang="0">
                <a:pos x="92" y="24"/>
              </a:cxn>
              <a:cxn ang="0">
                <a:pos x="86" y="29"/>
              </a:cxn>
              <a:cxn ang="0">
                <a:pos x="79" y="34"/>
              </a:cxn>
              <a:cxn ang="0">
                <a:pos x="72" y="37"/>
              </a:cxn>
              <a:cxn ang="0">
                <a:pos x="65" y="39"/>
              </a:cxn>
              <a:cxn ang="0">
                <a:pos x="57" y="41"/>
              </a:cxn>
              <a:cxn ang="0">
                <a:pos x="49" y="42"/>
              </a:cxn>
              <a:cxn ang="0">
                <a:pos x="40" y="42"/>
              </a:cxn>
              <a:cxn ang="0">
                <a:pos x="27" y="41"/>
              </a:cxn>
              <a:cxn ang="0">
                <a:pos x="12" y="39"/>
              </a:cxn>
              <a:cxn ang="0">
                <a:pos x="1" y="37"/>
              </a:cxn>
              <a:cxn ang="0">
                <a:pos x="0" y="36"/>
              </a:cxn>
              <a:cxn ang="0">
                <a:pos x="6" y="36"/>
              </a:cxn>
              <a:cxn ang="0">
                <a:pos x="12" y="35"/>
              </a:cxn>
              <a:cxn ang="0">
                <a:pos x="18" y="33"/>
              </a:cxn>
              <a:cxn ang="0">
                <a:pos x="23" y="30"/>
              </a:cxn>
              <a:cxn ang="0">
                <a:pos x="33" y="25"/>
              </a:cxn>
              <a:cxn ang="0">
                <a:pos x="44" y="18"/>
              </a:cxn>
              <a:cxn ang="0">
                <a:pos x="55" y="11"/>
              </a:cxn>
              <a:cxn ang="0">
                <a:pos x="66" y="5"/>
              </a:cxn>
              <a:cxn ang="0">
                <a:pos x="72" y="3"/>
              </a:cxn>
              <a:cxn ang="0">
                <a:pos x="79" y="1"/>
              </a:cxn>
              <a:cxn ang="0">
                <a:pos x="86" y="0"/>
              </a:cxn>
              <a:cxn ang="0">
                <a:pos x="93" y="0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9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705730" y="1577504"/>
            <a:ext cx="15875" cy="58739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0" y="5"/>
              </a:cxn>
              <a:cxn ang="0">
                <a:pos x="5" y="3"/>
              </a:cxn>
              <a:cxn ang="0">
                <a:pos x="9" y="1"/>
              </a:cxn>
              <a:cxn ang="0">
                <a:pos x="15" y="0"/>
              </a:cxn>
              <a:cxn ang="0">
                <a:pos x="20" y="0"/>
              </a:cxn>
              <a:cxn ang="0">
                <a:pos x="25" y="0"/>
              </a:cxn>
              <a:cxn ang="0">
                <a:pos x="30" y="1"/>
              </a:cxn>
              <a:cxn ang="0">
                <a:pos x="35" y="3"/>
              </a:cxn>
              <a:cxn ang="0">
                <a:pos x="40" y="5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0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727951" y="1536256"/>
            <a:ext cx="14287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0" y="0"/>
              </a:cxn>
              <a:cxn ang="0">
                <a:pos x="20" y="4"/>
              </a:cxn>
              <a:cxn ang="0">
                <a:pos x="22" y="10"/>
              </a:cxn>
              <a:cxn ang="0">
                <a:pos x="25" y="14"/>
              </a:cxn>
              <a:cxn ang="0">
                <a:pos x="27" y="18"/>
              </a:cxn>
              <a:cxn ang="0">
                <a:pos x="31" y="26"/>
              </a:cxn>
              <a:cxn ang="0">
                <a:pos x="33" y="31"/>
              </a:cxn>
              <a:cxn ang="0">
                <a:pos x="0" y="31"/>
              </a:cxn>
              <a:cxn ang="0">
                <a:pos x="0" y="25"/>
              </a:cxn>
              <a:cxn ang="0">
                <a:pos x="0" y="19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1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872415" y="1652118"/>
            <a:ext cx="17463" cy="57151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41" y="43"/>
              </a:cxn>
              <a:cxn ang="0">
                <a:pos x="31" y="42"/>
              </a:cxn>
              <a:cxn ang="0">
                <a:pos x="24" y="40"/>
              </a:cxn>
              <a:cxn ang="0">
                <a:pos x="18" y="37"/>
              </a:cxn>
              <a:cxn ang="0">
                <a:pos x="13" y="33"/>
              </a:cxn>
              <a:cxn ang="0">
                <a:pos x="5" y="25"/>
              </a:cxn>
              <a:cxn ang="0">
                <a:pos x="0" y="19"/>
              </a:cxn>
              <a:cxn ang="0">
                <a:pos x="12" y="13"/>
              </a:cxn>
              <a:cxn ang="0">
                <a:pos x="25" y="7"/>
              </a:cxn>
              <a:cxn ang="0">
                <a:pos x="36" y="2"/>
              </a:cxn>
              <a:cxn ang="0">
                <a:pos x="41" y="0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2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926391" y="1536256"/>
            <a:ext cx="93663" cy="60325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83" y="0"/>
              </a:cxn>
              <a:cxn ang="0">
                <a:pos x="105" y="1"/>
              </a:cxn>
              <a:cxn ang="0">
                <a:pos x="127" y="3"/>
              </a:cxn>
              <a:cxn ang="0">
                <a:pos x="146" y="7"/>
              </a:cxn>
              <a:cxn ang="0">
                <a:pos x="166" y="11"/>
              </a:cxn>
              <a:cxn ang="0">
                <a:pos x="184" y="16"/>
              </a:cxn>
              <a:cxn ang="0">
                <a:pos x="191" y="19"/>
              </a:cxn>
              <a:cxn ang="0">
                <a:pos x="199" y="23"/>
              </a:cxn>
              <a:cxn ang="0">
                <a:pos x="207" y="27"/>
              </a:cxn>
              <a:cxn ang="0">
                <a:pos x="213" y="31"/>
              </a:cxn>
              <a:cxn ang="0">
                <a:pos x="211" y="35"/>
              </a:cxn>
              <a:cxn ang="0">
                <a:pos x="207" y="38"/>
              </a:cxn>
              <a:cxn ang="0">
                <a:pos x="201" y="41"/>
              </a:cxn>
              <a:cxn ang="0">
                <a:pos x="195" y="44"/>
              </a:cxn>
              <a:cxn ang="0">
                <a:pos x="177" y="49"/>
              </a:cxn>
              <a:cxn ang="0">
                <a:pos x="156" y="53"/>
              </a:cxn>
              <a:cxn ang="0">
                <a:pos x="135" y="57"/>
              </a:cxn>
              <a:cxn ang="0">
                <a:pos x="114" y="59"/>
              </a:cxn>
              <a:cxn ang="0">
                <a:pos x="95" y="62"/>
              </a:cxn>
              <a:cxn ang="0">
                <a:pos x="80" y="62"/>
              </a:cxn>
              <a:cxn ang="0">
                <a:pos x="62" y="62"/>
              </a:cxn>
              <a:cxn ang="0">
                <a:pos x="43" y="59"/>
              </a:cxn>
              <a:cxn ang="0">
                <a:pos x="33" y="59"/>
              </a:cxn>
              <a:cxn ang="0">
                <a:pos x="23" y="59"/>
              </a:cxn>
              <a:cxn ang="0">
                <a:pos x="12" y="60"/>
              </a:cxn>
              <a:cxn ang="0">
                <a:pos x="0" y="62"/>
              </a:cxn>
              <a:cxn ang="0">
                <a:pos x="6" y="50"/>
              </a:cxn>
              <a:cxn ang="0">
                <a:pos x="11" y="39"/>
              </a:cxn>
              <a:cxn ang="0">
                <a:pos x="17" y="29"/>
              </a:cxn>
              <a:cxn ang="0">
                <a:pos x="23" y="20"/>
              </a:cxn>
              <a:cxn ang="0">
                <a:pos x="27" y="16"/>
              </a:cxn>
              <a:cxn ang="0">
                <a:pos x="30" y="12"/>
              </a:cxn>
              <a:cxn ang="0">
                <a:pos x="34" y="9"/>
              </a:cxn>
              <a:cxn ang="0">
                <a:pos x="39" y="6"/>
              </a:cxn>
              <a:cxn ang="0">
                <a:pos x="43" y="3"/>
              </a:cxn>
              <a:cxn ang="0">
                <a:pos x="49" y="1"/>
              </a:cxn>
              <a:cxn ang="0">
                <a:pos x="54" y="0"/>
              </a:cxn>
              <a:cxn ang="0">
                <a:pos x="61" y="0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3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986716" y="1561656"/>
            <a:ext cx="103188" cy="60325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30" y="3"/>
              </a:cxn>
              <a:cxn ang="0">
                <a:pos x="23" y="5"/>
              </a:cxn>
              <a:cxn ang="0">
                <a:pos x="19" y="7"/>
              </a:cxn>
              <a:cxn ang="0">
                <a:pos x="15" y="9"/>
              </a:cxn>
              <a:cxn ang="0">
                <a:pos x="13" y="13"/>
              </a:cxn>
              <a:cxn ang="0">
                <a:pos x="10" y="15"/>
              </a:cxn>
              <a:cxn ang="0">
                <a:pos x="7" y="17"/>
              </a:cxn>
              <a:cxn ang="0">
                <a:pos x="0" y="19"/>
              </a:cxn>
              <a:cxn ang="0">
                <a:pos x="2" y="24"/>
              </a:cxn>
              <a:cxn ang="0">
                <a:pos x="5" y="27"/>
              </a:cxn>
              <a:cxn ang="0">
                <a:pos x="7" y="30"/>
              </a:cxn>
              <a:cxn ang="0">
                <a:pos x="10" y="33"/>
              </a:cxn>
              <a:cxn ang="0">
                <a:pos x="17" y="36"/>
              </a:cxn>
              <a:cxn ang="0">
                <a:pos x="24" y="38"/>
              </a:cxn>
              <a:cxn ang="0">
                <a:pos x="41" y="38"/>
              </a:cxn>
              <a:cxn ang="0">
                <a:pos x="54" y="38"/>
              </a:cxn>
              <a:cxn ang="0">
                <a:pos x="153" y="38"/>
              </a:cxn>
              <a:cxn ang="0">
                <a:pos x="155" y="41"/>
              </a:cxn>
              <a:cxn ang="0">
                <a:pos x="156" y="44"/>
              </a:cxn>
              <a:cxn ang="0">
                <a:pos x="159" y="46"/>
              </a:cxn>
              <a:cxn ang="0">
                <a:pos x="162" y="48"/>
              </a:cxn>
              <a:cxn ang="0">
                <a:pos x="167" y="51"/>
              </a:cxn>
              <a:cxn ang="0">
                <a:pos x="174" y="54"/>
              </a:cxn>
              <a:cxn ang="0">
                <a:pos x="188" y="56"/>
              </a:cxn>
              <a:cxn ang="0">
                <a:pos x="200" y="56"/>
              </a:cxn>
              <a:cxn ang="0">
                <a:pos x="204" y="55"/>
              </a:cxn>
              <a:cxn ang="0">
                <a:pos x="210" y="54"/>
              </a:cxn>
              <a:cxn ang="0">
                <a:pos x="214" y="52"/>
              </a:cxn>
              <a:cxn ang="0">
                <a:pos x="220" y="49"/>
              </a:cxn>
              <a:cxn ang="0">
                <a:pos x="230" y="43"/>
              </a:cxn>
              <a:cxn ang="0">
                <a:pos x="239" y="38"/>
              </a:cxn>
              <a:cxn ang="0">
                <a:pos x="232" y="37"/>
              </a:cxn>
              <a:cxn ang="0">
                <a:pos x="225" y="36"/>
              </a:cxn>
              <a:cxn ang="0">
                <a:pos x="219" y="34"/>
              </a:cxn>
              <a:cxn ang="0">
                <a:pos x="213" y="32"/>
              </a:cxn>
              <a:cxn ang="0">
                <a:pos x="201" y="26"/>
              </a:cxn>
              <a:cxn ang="0">
                <a:pos x="190" y="19"/>
              </a:cxn>
              <a:cxn ang="0">
                <a:pos x="178" y="13"/>
              </a:cxn>
              <a:cxn ang="0">
                <a:pos x="167" y="6"/>
              </a:cxn>
              <a:cxn ang="0">
                <a:pos x="160" y="4"/>
              </a:cxn>
              <a:cxn ang="0">
                <a:pos x="154" y="2"/>
              </a:cxn>
              <a:cxn ang="0">
                <a:pos x="147" y="1"/>
              </a:cxn>
              <a:cxn ang="0">
                <a:pos x="140" y="0"/>
              </a:cxn>
              <a:cxn ang="0">
                <a:pos x="134" y="1"/>
              </a:cxn>
              <a:cxn ang="0">
                <a:pos x="127" y="4"/>
              </a:cxn>
              <a:cxn ang="0">
                <a:pos x="124" y="6"/>
              </a:cxn>
              <a:cxn ang="0">
                <a:pos x="122" y="8"/>
              </a:cxn>
              <a:cxn ang="0">
                <a:pos x="121" y="10"/>
              </a:cxn>
              <a:cxn ang="0">
                <a:pos x="120" y="13"/>
              </a:cxn>
              <a:cxn ang="0">
                <a:pos x="100" y="8"/>
              </a:cxn>
              <a:cxn ang="0">
                <a:pos x="80" y="4"/>
              </a:cxn>
              <a:cxn ang="0">
                <a:pos x="61" y="1"/>
              </a:cxn>
              <a:cxn ang="0">
                <a:pos x="41" y="0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4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104187" y="1575918"/>
            <a:ext cx="82550" cy="57151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41" y="0"/>
              </a:cxn>
              <a:cxn ang="0">
                <a:pos x="44" y="3"/>
              </a:cxn>
              <a:cxn ang="0">
                <a:pos x="50" y="6"/>
              </a:cxn>
              <a:cxn ang="0">
                <a:pos x="58" y="9"/>
              </a:cxn>
              <a:cxn ang="0">
                <a:pos x="67" y="12"/>
              </a:cxn>
              <a:cxn ang="0">
                <a:pos x="89" y="19"/>
              </a:cxn>
              <a:cxn ang="0">
                <a:pos x="114" y="26"/>
              </a:cxn>
              <a:cxn ang="0">
                <a:pos x="139" y="33"/>
              </a:cxn>
              <a:cxn ang="0">
                <a:pos x="161" y="38"/>
              </a:cxn>
              <a:cxn ang="0">
                <a:pos x="177" y="42"/>
              </a:cxn>
              <a:cxn ang="0">
                <a:pos x="187" y="43"/>
              </a:cxn>
              <a:cxn ang="0">
                <a:pos x="187" y="56"/>
              </a:cxn>
              <a:cxn ang="0">
                <a:pos x="187" y="68"/>
              </a:cxn>
              <a:cxn ang="0">
                <a:pos x="170" y="70"/>
              </a:cxn>
              <a:cxn ang="0">
                <a:pos x="151" y="71"/>
              </a:cxn>
              <a:cxn ang="0">
                <a:pos x="133" y="71"/>
              </a:cxn>
              <a:cxn ang="0">
                <a:pos x="116" y="70"/>
              </a:cxn>
              <a:cxn ang="0">
                <a:pos x="85" y="69"/>
              </a:cxn>
              <a:cxn ang="0">
                <a:pos x="61" y="68"/>
              </a:cxn>
              <a:cxn ang="0">
                <a:pos x="55" y="69"/>
              </a:cxn>
              <a:cxn ang="0">
                <a:pos x="51" y="70"/>
              </a:cxn>
              <a:cxn ang="0">
                <a:pos x="45" y="72"/>
              </a:cxn>
              <a:cxn ang="0">
                <a:pos x="41" y="74"/>
              </a:cxn>
              <a:cxn ang="0">
                <a:pos x="33" y="78"/>
              </a:cxn>
              <a:cxn ang="0">
                <a:pos x="28" y="80"/>
              </a:cxn>
              <a:cxn ang="0">
                <a:pos x="22" y="79"/>
              </a:cxn>
              <a:cxn ang="0">
                <a:pos x="18" y="76"/>
              </a:cxn>
              <a:cxn ang="0">
                <a:pos x="14" y="72"/>
              </a:cxn>
              <a:cxn ang="0">
                <a:pos x="9" y="67"/>
              </a:cxn>
              <a:cxn ang="0">
                <a:pos x="6" y="62"/>
              </a:cxn>
              <a:cxn ang="0">
                <a:pos x="3" y="57"/>
              </a:cxn>
              <a:cxn ang="0">
                <a:pos x="2" y="53"/>
              </a:cxn>
              <a:cxn ang="0">
                <a:pos x="0" y="50"/>
              </a:cxn>
              <a:cxn ang="0">
                <a:pos x="2" y="44"/>
              </a:cxn>
              <a:cxn ang="0">
                <a:pos x="3" y="40"/>
              </a:cxn>
              <a:cxn ang="0">
                <a:pos x="5" y="36"/>
              </a:cxn>
              <a:cxn ang="0">
                <a:pos x="7" y="31"/>
              </a:cxn>
              <a:cxn ang="0">
                <a:pos x="13" y="24"/>
              </a:cxn>
              <a:cxn ang="0">
                <a:pos x="14" y="1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5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631238" y="1701328"/>
            <a:ext cx="79375" cy="58739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63" y="0"/>
              </a:cxn>
              <a:cxn ang="0">
                <a:pos x="75" y="1"/>
              </a:cxn>
              <a:cxn ang="0">
                <a:pos x="86" y="4"/>
              </a:cxn>
              <a:cxn ang="0">
                <a:pos x="97" y="7"/>
              </a:cxn>
              <a:cxn ang="0">
                <a:pos x="106" y="10"/>
              </a:cxn>
              <a:cxn ang="0">
                <a:pos x="116" y="15"/>
              </a:cxn>
              <a:cxn ang="0">
                <a:pos x="124" y="19"/>
              </a:cxn>
              <a:cxn ang="0">
                <a:pos x="131" y="25"/>
              </a:cxn>
              <a:cxn ang="0">
                <a:pos x="159" y="49"/>
              </a:cxn>
              <a:cxn ang="0">
                <a:pos x="183" y="73"/>
              </a:cxn>
              <a:cxn ang="0">
                <a:pos x="137" y="73"/>
              </a:cxn>
              <a:cxn ang="0">
                <a:pos x="128" y="72"/>
              </a:cxn>
              <a:cxn ang="0">
                <a:pos x="117" y="70"/>
              </a:cxn>
              <a:cxn ang="0">
                <a:pos x="104" y="66"/>
              </a:cxn>
              <a:cxn ang="0">
                <a:pos x="90" y="62"/>
              </a:cxn>
              <a:cxn ang="0">
                <a:pos x="73" y="56"/>
              </a:cxn>
              <a:cxn ang="0">
                <a:pos x="58" y="50"/>
              </a:cxn>
              <a:cxn ang="0">
                <a:pos x="42" y="44"/>
              </a:cxn>
              <a:cxn ang="0">
                <a:pos x="28" y="37"/>
              </a:cxn>
              <a:cxn ang="0">
                <a:pos x="16" y="30"/>
              </a:cxn>
              <a:cxn ang="0">
                <a:pos x="7" y="23"/>
              </a:cxn>
              <a:cxn ang="0">
                <a:pos x="4" y="19"/>
              </a:cxn>
              <a:cxn ang="0">
                <a:pos x="2" y="16"/>
              </a:cxn>
              <a:cxn ang="0">
                <a:pos x="1" y="14"/>
              </a:cxn>
              <a:cxn ang="0">
                <a:pos x="0" y="11"/>
              </a:cxn>
              <a:cxn ang="0">
                <a:pos x="1" y="8"/>
              </a:cxn>
              <a:cxn ang="0">
                <a:pos x="3" y="6"/>
              </a:cxn>
              <a:cxn ang="0">
                <a:pos x="7" y="4"/>
              </a:cxn>
              <a:cxn ang="0">
                <a:pos x="13" y="3"/>
              </a:cxn>
              <a:cxn ang="0">
                <a:pos x="19" y="1"/>
              </a:cxn>
              <a:cxn ang="0">
                <a:pos x="28" y="0"/>
              </a:cxn>
              <a:cxn ang="0">
                <a:pos x="38" y="0"/>
              </a:cxn>
              <a:cxn ang="0">
                <a:pos x="50" y="0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6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697911" y="1718793"/>
            <a:ext cx="33338" cy="57151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3" y="2"/>
              </a:cxn>
              <a:cxn ang="0">
                <a:pos x="41" y="1"/>
              </a:cxn>
              <a:cxn ang="0">
                <a:pos x="60" y="0"/>
              </a:cxn>
              <a:cxn ang="0">
                <a:pos x="79" y="0"/>
              </a:cxn>
              <a:cxn ang="0">
                <a:pos x="79" y="9"/>
              </a:cxn>
              <a:cxn ang="0">
                <a:pos x="79" y="18"/>
              </a:cxn>
              <a:cxn ang="0">
                <a:pos x="79" y="22"/>
              </a:cxn>
              <a:cxn ang="0">
                <a:pos x="75" y="27"/>
              </a:cxn>
              <a:cxn ang="0">
                <a:pos x="72" y="31"/>
              </a:cxn>
              <a:cxn ang="0">
                <a:pos x="68" y="35"/>
              </a:cxn>
              <a:cxn ang="0">
                <a:pos x="62" y="38"/>
              </a:cxn>
              <a:cxn ang="0">
                <a:pos x="57" y="40"/>
              </a:cxn>
              <a:cxn ang="0">
                <a:pos x="51" y="42"/>
              </a:cxn>
              <a:cxn ang="0">
                <a:pos x="46" y="42"/>
              </a:cxn>
              <a:cxn ang="0">
                <a:pos x="40" y="42"/>
              </a:cxn>
              <a:cxn ang="0">
                <a:pos x="35" y="41"/>
              </a:cxn>
              <a:cxn ang="0">
                <a:pos x="29" y="39"/>
              </a:cxn>
              <a:cxn ang="0">
                <a:pos x="25" y="37"/>
              </a:cxn>
              <a:cxn ang="0">
                <a:pos x="16" y="32"/>
              </a:cxn>
              <a:cxn ang="0">
                <a:pos x="11" y="26"/>
              </a:cxn>
              <a:cxn ang="0">
                <a:pos x="5" y="20"/>
              </a:cxn>
              <a:cxn ang="0">
                <a:pos x="2" y="14"/>
              </a:cxn>
              <a:cxn ang="0">
                <a:pos x="0" y="9"/>
              </a:cxn>
              <a:cxn ang="0">
                <a:pos x="0" y="6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7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728089" y="1729904"/>
            <a:ext cx="52387" cy="58739"/>
          </a:xfrm>
          <a:custGeom>
            <a:avLst/>
            <a:gdLst/>
            <a:ahLst/>
            <a:cxnLst>
              <a:cxn ang="0">
                <a:pos x="113" y="39"/>
              </a:cxn>
              <a:cxn ang="0">
                <a:pos x="112" y="42"/>
              </a:cxn>
              <a:cxn ang="0">
                <a:pos x="109" y="45"/>
              </a:cxn>
              <a:cxn ang="0">
                <a:pos x="106" y="47"/>
              </a:cxn>
              <a:cxn ang="0">
                <a:pos x="103" y="49"/>
              </a:cxn>
              <a:cxn ang="0">
                <a:pos x="94" y="51"/>
              </a:cxn>
              <a:cxn ang="0">
                <a:pos x="85" y="52"/>
              </a:cxn>
              <a:cxn ang="0">
                <a:pos x="66" y="52"/>
              </a:cxn>
              <a:cxn ang="0">
                <a:pos x="53" y="51"/>
              </a:cxn>
              <a:cxn ang="0">
                <a:pos x="47" y="51"/>
              </a:cxn>
              <a:cxn ang="0">
                <a:pos x="39" y="48"/>
              </a:cxn>
              <a:cxn ang="0">
                <a:pos x="30" y="45"/>
              </a:cxn>
              <a:cxn ang="0">
                <a:pos x="21" y="41"/>
              </a:cxn>
              <a:cxn ang="0">
                <a:pos x="13" y="36"/>
              </a:cxn>
              <a:cxn ang="0">
                <a:pos x="6" y="31"/>
              </a:cxn>
              <a:cxn ang="0">
                <a:pos x="4" y="28"/>
              </a:cxn>
              <a:cxn ang="0">
                <a:pos x="2" y="25"/>
              </a:cxn>
              <a:cxn ang="0">
                <a:pos x="1" y="22"/>
              </a:cxn>
              <a:cxn ang="0">
                <a:pos x="0" y="20"/>
              </a:cxn>
              <a:cxn ang="0">
                <a:pos x="1" y="15"/>
              </a:cxn>
              <a:cxn ang="0">
                <a:pos x="1" y="11"/>
              </a:cxn>
              <a:cxn ang="0">
                <a:pos x="3" y="8"/>
              </a:cxn>
              <a:cxn ang="0">
                <a:pos x="5" y="5"/>
              </a:cxn>
              <a:cxn ang="0">
                <a:pos x="7" y="3"/>
              </a:cxn>
              <a:cxn ang="0">
                <a:pos x="10" y="2"/>
              </a:cxn>
              <a:cxn ang="0">
                <a:pos x="14" y="1"/>
              </a:cxn>
              <a:cxn ang="0">
                <a:pos x="17" y="0"/>
              </a:cxn>
              <a:cxn ang="0">
                <a:pos x="26" y="0"/>
              </a:cxn>
              <a:cxn ang="0">
                <a:pos x="36" y="2"/>
              </a:cxn>
              <a:cxn ang="0">
                <a:pos x="46" y="5"/>
              </a:cxn>
              <a:cxn ang="0">
                <a:pos x="57" y="9"/>
              </a:cxn>
              <a:cxn ang="0">
                <a:pos x="77" y="18"/>
              </a:cxn>
              <a:cxn ang="0">
                <a:pos x="95" y="29"/>
              </a:cxn>
              <a:cxn ang="0">
                <a:pos x="108" y="36"/>
              </a:cxn>
              <a:cxn ang="0">
                <a:pos x="113" y="3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8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499478" y="1702945"/>
            <a:ext cx="61912" cy="5873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8" y="9"/>
              </a:cxn>
              <a:cxn ang="0">
                <a:pos x="19" y="8"/>
              </a:cxn>
              <a:cxn ang="0">
                <a:pos x="30" y="7"/>
              </a:cxn>
              <a:cxn ang="0">
                <a:pos x="42" y="5"/>
              </a:cxn>
              <a:cxn ang="0">
                <a:pos x="53" y="2"/>
              </a:cxn>
              <a:cxn ang="0">
                <a:pos x="64" y="1"/>
              </a:cxn>
              <a:cxn ang="0">
                <a:pos x="73" y="0"/>
              </a:cxn>
              <a:cxn ang="0">
                <a:pos x="80" y="2"/>
              </a:cxn>
              <a:cxn ang="0">
                <a:pos x="139" y="39"/>
              </a:cxn>
              <a:cxn ang="0">
                <a:pos x="133" y="40"/>
              </a:cxn>
              <a:cxn ang="0">
                <a:pos x="125" y="39"/>
              </a:cxn>
              <a:cxn ang="0">
                <a:pos x="116" y="38"/>
              </a:cxn>
              <a:cxn ang="0">
                <a:pos x="106" y="36"/>
              </a:cxn>
              <a:cxn ang="0">
                <a:pos x="86" y="30"/>
              </a:cxn>
              <a:cxn ang="0">
                <a:pos x="64" y="24"/>
              </a:cxn>
              <a:cxn ang="0">
                <a:pos x="44" y="16"/>
              </a:cxn>
              <a:cxn ang="0">
                <a:pos x="26" y="11"/>
              </a:cxn>
              <a:cxn ang="0">
                <a:pos x="17" y="9"/>
              </a:cxn>
              <a:cxn ang="0">
                <a:pos x="11" y="7"/>
              </a:cxn>
              <a:cxn ang="0">
                <a:pos x="4" y="7"/>
              </a:cxn>
              <a:cxn ang="0">
                <a:pos x="0" y="8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9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799511" y="1644179"/>
            <a:ext cx="139700" cy="57151"/>
          </a:xfrm>
          <a:custGeom>
            <a:avLst/>
            <a:gdLst/>
            <a:ahLst/>
            <a:cxnLst>
              <a:cxn ang="0">
                <a:pos x="10" y="7"/>
              </a:cxn>
              <a:cxn ang="0">
                <a:pos x="31" y="1"/>
              </a:cxn>
              <a:cxn ang="0">
                <a:pos x="53" y="0"/>
              </a:cxn>
              <a:cxn ang="0">
                <a:pos x="73" y="4"/>
              </a:cxn>
              <a:cxn ang="0">
                <a:pos x="92" y="10"/>
              </a:cxn>
              <a:cxn ang="0">
                <a:pos x="110" y="18"/>
              </a:cxn>
              <a:cxn ang="0">
                <a:pos x="122" y="29"/>
              </a:cxn>
              <a:cxn ang="0">
                <a:pos x="130" y="38"/>
              </a:cxn>
              <a:cxn ang="0">
                <a:pos x="136" y="34"/>
              </a:cxn>
              <a:cxn ang="0">
                <a:pos x="139" y="15"/>
              </a:cxn>
              <a:cxn ang="0">
                <a:pos x="161" y="7"/>
              </a:cxn>
              <a:cxn ang="0">
                <a:pos x="216" y="13"/>
              </a:cxn>
              <a:cxn ang="0">
                <a:pos x="258" y="23"/>
              </a:cxn>
              <a:cxn ang="0">
                <a:pos x="283" y="32"/>
              </a:cxn>
              <a:cxn ang="0">
                <a:pos x="305" y="43"/>
              </a:cxn>
              <a:cxn ang="0">
                <a:pos x="320" y="55"/>
              </a:cxn>
              <a:cxn ang="0">
                <a:pos x="316" y="64"/>
              </a:cxn>
              <a:cxn ang="0">
                <a:pos x="294" y="68"/>
              </a:cxn>
              <a:cxn ang="0">
                <a:pos x="259" y="71"/>
              </a:cxn>
              <a:cxn ang="0">
                <a:pos x="210" y="70"/>
              </a:cxn>
              <a:cxn ang="0">
                <a:pos x="167" y="68"/>
              </a:cxn>
              <a:cxn ang="0">
                <a:pos x="133" y="69"/>
              </a:cxn>
              <a:cxn ang="0">
                <a:pos x="90" y="71"/>
              </a:cxn>
              <a:cxn ang="0">
                <a:pos x="72" y="68"/>
              </a:cxn>
              <a:cxn ang="0">
                <a:pos x="67" y="64"/>
              </a:cxn>
              <a:cxn ang="0">
                <a:pos x="58" y="61"/>
              </a:cxn>
              <a:cxn ang="0">
                <a:pos x="46" y="59"/>
              </a:cxn>
              <a:cxn ang="0">
                <a:pos x="35" y="53"/>
              </a:cxn>
              <a:cxn ang="0">
                <a:pos x="25" y="45"/>
              </a:cxn>
              <a:cxn ang="0">
                <a:pos x="16" y="39"/>
              </a:cxn>
              <a:cxn ang="0">
                <a:pos x="6" y="37"/>
              </a:cxn>
              <a:cxn ang="0">
                <a:pos x="0" y="22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0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959849" y="1652118"/>
            <a:ext cx="95250" cy="57151"/>
          </a:xfrm>
          <a:custGeom>
            <a:avLst/>
            <a:gdLst/>
            <a:ahLst/>
            <a:cxnLst>
              <a:cxn ang="0">
                <a:pos x="87" y="25"/>
              </a:cxn>
              <a:cxn ang="0">
                <a:pos x="92" y="26"/>
              </a:cxn>
              <a:cxn ang="0">
                <a:pos x="98" y="27"/>
              </a:cxn>
              <a:cxn ang="0">
                <a:pos x="101" y="28"/>
              </a:cxn>
              <a:cxn ang="0">
                <a:pos x="104" y="27"/>
              </a:cxn>
              <a:cxn ang="0">
                <a:pos x="109" y="27"/>
              </a:cxn>
              <a:cxn ang="0">
                <a:pos x="113" y="25"/>
              </a:cxn>
              <a:cxn ang="0">
                <a:pos x="114" y="26"/>
              </a:cxn>
              <a:cxn ang="0">
                <a:pos x="115" y="26"/>
              </a:cxn>
              <a:cxn ang="0">
                <a:pos x="116" y="25"/>
              </a:cxn>
              <a:cxn ang="0">
                <a:pos x="117" y="25"/>
              </a:cxn>
              <a:cxn ang="0">
                <a:pos x="119" y="22"/>
              </a:cxn>
              <a:cxn ang="0">
                <a:pos x="120" y="17"/>
              </a:cxn>
              <a:cxn ang="0">
                <a:pos x="120" y="7"/>
              </a:cxn>
              <a:cxn ang="0">
                <a:pos x="120" y="0"/>
              </a:cxn>
              <a:cxn ang="0">
                <a:pos x="125" y="5"/>
              </a:cxn>
              <a:cxn ang="0">
                <a:pos x="131" y="10"/>
              </a:cxn>
              <a:cxn ang="0">
                <a:pos x="137" y="15"/>
              </a:cxn>
              <a:cxn ang="0">
                <a:pos x="143" y="19"/>
              </a:cxn>
              <a:cxn ang="0">
                <a:pos x="156" y="25"/>
              </a:cxn>
              <a:cxn ang="0">
                <a:pos x="170" y="30"/>
              </a:cxn>
              <a:cxn ang="0">
                <a:pos x="183" y="35"/>
              </a:cxn>
              <a:cxn ang="0">
                <a:pos x="196" y="41"/>
              </a:cxn>
              <a:cxn ang="0">
                <a:pos x="203" y="44"/>
              </a:cxn>
              <a:cxn ang="0">
                <a:pos x="209" y="47"/>
              </a:cxn>
              <a:cxn ang="0">
                <a:pos x="214" y="51"/>
              </a:cxn>
              <a:cxn ang="0">
                <a:pos x="220" y="55"/>
              </a:cxn>
              <a:cxn ang="0">
                <a:pos x="206" y="56"/>
              </a:cxn>
              <a:cxn ang="0">
                <a:pos x="194" y="57"/>
              </a:cxn>
              <a:cxn ang="0">
                <a:pos x="182" y="58"/>
              </a:cxn>
              <a:cxn ang="0">
                <a:pos x="171" y="60"/>
              </a:cxn>
              <a:cxn ang="0">
                <a:pos x="151" y="65"/>
              </a:cxn>
              <a:cxn ang="0">
                <a:pos x="134" y="70"/>
              </a:cxn>
              <a:cxn ang="0">
                <a:pos x="126" y="71"/>
              </a:cxn>
              <a:cxn ang="0">
                <a:pos x="117" y="72"/>
              </a:cxn>
              <a:cxn ang="0">
                <a:pos x="110" y="72"/>
              </a:cxn>
              <a:cxn ang="0">
                <a:pos x="103" y="72"/>
              </a:cxn>
              <a:cxn ang="0">
                <a:pos x="95" y="70"/>
              </a:cxn>
              <a:cxn ang="0">
                <a:pos x="88" y="66"/>
              </a:cxn>
              <a:cxn ang="0">
                <a:pos x="81" y="61"/>
              </a:cxn>
              <a:cxn ang="0">
                <a:pos x="74" y="55"/>
              </a:cxn>
              <a:cxn ang="0">
                <a:pos x="59" y="53"/>
              </a:cxn>
              <a:cxn ang="0">
                <a:pos x="45" y="50"/>
              </a:cxn>
              <a:cxn ang="0">
                <a:pos x="33" y="47"/>
              </a:cxn>
              <a:cxn ang="0">
                <a:pos x="22" y="43"/>
              </a:cxn>
              <a:cxn ang="0">
                <a:pos x="18" y="41"/>
              </a:cxn>
              <a:cxn ang="0">
                <a:pos x="13" y="38"/>
              </a:cxn>
              <a:cxn ang="0">
                <a:pos x="9" y="35"/>
              </a:cxn>
              <a:cxn ang="0">
                <a:pos x="7" y="31"/>
              </a:cxn>
              <a:cxn ang="0">
                <a:pos x="3" y="27"/>
              </a:cxn>
              <a:cxn ang="0">
                <a:pos x="2" y="23"/>
              </a:cxn>
              <a:cxn ang="0">
                <a:pos x="1" y="18"/>
              </a:cxn>
              <a:cxn ang="0">
                <a:pos x="0" y="13"/>
              </a:cxn>
              <a:cxn ang="0">
                <a:pos x="23" y="17"/>
              </a:cxn>
              <a:cxn ang="0">
                <a:pos x="44" y="21"/>
              </a:cxn>
              <a:cxn ang="0">
                <a:pos x="64" y="24"/>
              </a:cxn>
              <a:cxn ang="0">
                <a:pos x="87" y="25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1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920161" y="1699769"/>
            <a:ext cx="63500" cy="58737"/>
          </a:xfrm>
          <a:custGeom>
            <a:avLst/>
            <a:gdLst/>
            <a:ahLst/>
            <a:cxnLst>
              <a:cxn ang="0">
                <a:pos x="146" y="25"/>
              </a:cxn>
              <a:cxn ang="0">
                <a:pos x="140" y="16"/>
              </a:cxn>
              <a:cxn ang="0">
                <a:pos x="137" y="9"/>
              </a:cxn>
              <a:cxn ang="0">
                <a:pos x="133" y="4"/>
              </a:cxn>
              <a:cxn ang="0">
                <a:pos x="128" y="1"/>
              </a:cxn>
              <a:cxn ang="0">
                <a:pos x="126" y="1"/>
              </a:cxn>
              <a:cxn ang="0">
                <a:pos x="124" y="1"/>
              </a:cxn>
              <a:cxn ang="0">
                <a:pos x="120" y="2"/>
              </a:cxn>
              <a:cxn ang="0">
                <a:pos x="118" y="3"/>
              </a:cxn>
              <a:cxn ang="0">
                <a:pos x="113" y="9"/>
              </a:cxn>
              <a:cxn ang="0">
                <a:pos x="105" y="19"/>
              </a:cxn>
              <a:cxn ang="0">
                <a:pos x="72" y="19"/>
              </a:cxn>
              <a:cxn ang="0">
                <a:pos x="63" y="18"/>
              </a:cxn>
              <a:cxn ang="0">
                <a:pos x="55" y="17"/>
              </a:cxn>
              <a:cxn ang="0">
                <a:pos x="47" y="14"/>
              </a:cxn>
              <a:cxn ang="0">
                <a:pos x="40" y="12"/>
              </a:cxn>
              <a:cxn ang="0">
                <a:pos x="29" y="6"/>
              </a:cxn>
              <a:cxn ang="0">
                <a:pos x="19" y="0"/>
              </a:cxn>
              <a:cxn ang="0">
                <a:pos x="14" y="9"/>
              </a:cxn>
              <a:cxn ang="0">
                <a:pos x="10" y="15"/>
              </a:cxn>
              <a:cxn ang="0">
                <a:pos x="4" y="20"/>
              </a:cxn>
              <a:cxn ang="0">
                <a:pos x="0" y="25"/>
              </a:cxn>
              <a:cxn ang="0">
                <a:pos x="33" y="25"/>
              </a:cxn>
              <a:cxn ang="0">
                <a:pos x="57" y="25"/>
              </a:cxn>
              <a:cxn ang="0">
                <a:pos x="77" y="25"/>
              </a:cxn>
              <a:cxn ang="0">
                <a:pos x="99" y="25"/>
              </a:cxn>
              <a:cxn ang="0">
                <a:pos x="110" y="26"/>
              </a:cxn>
              <a:cxn ang="0">
                <a:pos x="123" y="29"/>
              </a:cxn>
              <a:cxn ang="0">
                <a:pos x="128" y="30"/>
              </a:cxn>
              <a:cxn ang="0">
                <a:pos x="135" y="30"/>
              </a:cxn>
              <a:cxn ang="0">
                <a:pos x="140" y="28"/>
              </a:cxn>
              <a:cxn ang="0">
                <a:pos x="146" y="25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2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899539" y="1696594"/>
            <a:ext cx="20637" cy="58737"/>
          </a:xfrm>
          <a:custGeom>
            <a:avLst/>
            <a:gdLst/>
            <a:ahLst/>
            <a:cxnLst>
              <a:cxn ang="0">
                <a:pos x="0" y="9"/>
              </a:cxn>
              <a:cxn ang="0">
                <a:pos x="17" y="9"/>
              </a:cxn>
              <a:cxn ang="0">
                <a:pos x="29" y="9"/>
              </a:cxn>
              <a:cxn ang="0">
                <a:pos x="40" y="9"/>
              </a:cxn>
              <a:cxn ang="0">
                <a:pos x="53" y="9"/>
              </a:cxn>
              <a:cxn ang="0">
                <a:pos x="46" y="6"/>
              </a:cxn>
              <a:cxn ang="0">
                <a:pos x="38" y="3"/>
              </a:cxn>
              <a:cxn ang="0">
                <a:pos x="31" y="1"/>
              </a:cxn>
              <a:cxn ang="0">
                <a:pos x="25" y="0"/>
              </a:cxn>
              <a:cxn ang="0">
                <a:pos x="19" y="0"/>
              </a:cxn>
              <a:cxn ang="0">
                <a:pos x="14" y="0"/>
              </a:cxn>
              <a:cxn ang="0">
                <a:pos x="9" y="1"/>
              </a:cxn>
              <a:cxn ang="0">
                <a:pos x="6" y="3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3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901111" y="1694979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4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6070849" y="1623541"/>
            <a:ext cx="11112" cy="55563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5" y="17"/>
              </a:cxn>
              <a:cxn ang="0">
                <a:pos x="13" y="8"/>
              </a:cxn>
              <a:cxn ang="0">
                <a:pos x="16" y="5"/>
              </a:cxn>
              <a:cxn ang="0">
                <a:pos x="20" y="2"/>
              </a:cxn>
              <a:cxn ang="0">
                <a:pos x="23" y="1"/>
              </a:cxn>
              <a:cxn ang="0">
                <a:pos x="26" y="0"/>
              </a:cxn>
              <a:cxn ang="0">
                <a:pos x="26" y="25"/>
              </a:cxn>
              <a:cxn ang="0">
                <a:pos x="20" y="25"/>
              </a:cxn>
              <a:cxn ang="0">
                <a:pos x="13" y="25"/>
              </a:cxn>
              <a:cxn ang="0">
                <a:pos x="0" y="25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5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820164" y="1694979"/>
            <a:ext cx="9525" cy="57151"/>
          </a:xfrm>
          <a:custGeom>
            <a:avLst/>
            <a:gdLst/>
            <a:ahLst/>
            <a:cxnLst>
              <a:cxn ang="0">
                <a:pos x="33" y="25"/>
              </a:cxn>
              <a:cxn ang="0">
                <a:pos x="33" y="12"/>
              </a:cxn>
              <a:cxn ang="0">
                <a:pos x="33" y="0"/>
              </a:cxn>
              <a:cxn ang="0">
                <a:pos x="0" y="0"/>
              </a:cxn>
              <a:cxn ang="0">
                <a:pos x="9" y="9"/>
              </a:cxn>
              <a:cxn ang="0">
                <a:pos x="16" y="17"/>
              </a:cxn>
              <a:cxn ang="0">
                <a:pos x="20" y="20"/>
              </a:cxn>
              <a:cxn ang="0">
                <a:pos x="24" y="23"/>
              </a:cxn>
              <a:cxn ang="0">
                <a:pos x="28" y="24"/>
              </a:cxn>
              <a:cxn ang="0">
                <a:pos x="33" y="25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6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774121" y="1658467"/>
            <a:ext cx="9525" cy="571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8"/>
              </a:cxn>
              <a:cxn ang="0">
                <a:pos x="16" y="11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7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274174" y="2228379"/>
            <a:ext cx="12700" cy="58739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0"/>
              </a:cxn>
              <a:cxn ang="0">
                <a:pos x="9" y="0"/>
              </a:cxn>
              <a:cxn ang="0">
                <a:pos x="16" y="0"/>
              </a:cxn>
              <a:cxn ang="0">
                <a:pos x="24" y="0"/>
              </a:cxn>
              <a:cxn ang="0">
                <a:pos x="33" y="0"/>
              </a:cxn>
              <a:cxn ang="0">
                <a:pos x="30" y="2"/>
              </a:cxn>
              <a:cxn ang="0">
                <a:pos x="29" y="5"/>
              </a:cxn>
              <a:cxn ang="0">
                <a:pos x="28" y="9"/>
              </a:cxn>
              <a:cxn ang="0">
                <a:pos x="28" y="13"/>
              </a:cxn>
              <a:cxn ang="0">
                <a:pos x="28" y="17"/>
              </a:cxn>
              <a:cxn ang="0">
                <a:pos x="29" y="21"/>
              </a:cxn>
              <a:cxn ang="0">
                <a:pos x="30" y="26"/>
              </a:cxn>
              <a:cxn ang="0">
                <a:pos x="33" y="31"/>
              </a:cxn>
              <a:cxn ang="0">
                <a:pos x="0" y="31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8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567876" y="1750569"/>
            <a:ext cx="55563" cy="58737"/>
          </a:xfrm>
          <a:custGeom>
            <a:avLst/>
            <a:gdLst/>
            <a:ahLst/>
            <a:cxnLst>
              <a:cxn ang="0">
                <a:pos x="3" y="44"/>
              </a:cxn>
              <a:cxn ang="0">
                <a:pos x="1" y="42"/>
              </a:cxn>
              <a:cxn ang="0">
                <a:pos x="1" y="40"/>
              </a:cxn>
              <a:cxn ang="0">
                <a:pos x="0" y="37"/>
              </a:cxn>
              <a:cxn ang="0">
                <a:pos x="1" y="33"/>
              </a:cxn>
              <a:cxn ang="0">
                <a:pos x="2" y="25"/>
              </a:cxn>
              <a:cxn ang="0">
                <a:pos x="3" y="18"/>
              </a:cxn>
              <a:cxn ang="0">
                <a:pos x="9" y="13"/>
              </a:cxn>
              <a:cxn ang="0">
                <a:pos x="16" y="9"/>
              </a:cxn>
              <a:cxn ang="0">
                <a:pos x="21" y="6"/>
              </a:cxn>
              <a:cxn ang="0">
                <a:pos x="27" y="5"/>
              </a:cxn>
              <a:cxn ang="0">
                <a:pos x="39" y="3"/>
              </a:cxn>
              <a:cxn ang="0">
                <a:pos x="57" y="0"/>
              </a:cxn>
              <a:cxn ang="0">
                <a:pos x="60" y="5"/>
              </a:cxn>
              <a:cxn ang="0">
                <a:pos x="64" y="8"/>
              </a:cxn>
              <a:cxn ang="0">
                <a:pos x="69" y="11"/>
              </a:cxn>
              <a:cxn ang="0">
                <a:pos x="73" y="14"/>
              </a:cxn>
              <a:cxn ang="0">
                <a:pos x="83" y="18"/>
              </a:cxn>
              <a:cxn ang="0">
                <a:pos x="93" y="21"/>
              </a:cxn>
              <a:cxn ang="0">
                <a:pos x="103" y="25"/>
              </a:cxn>
              <a:cxn ang="0">
                <a:pos x="113" y="29"/>
              </a:cxn>
              <a:cxn ang="0">
                <a:pos x="117" y="32"/>
              </a:cxn>
              <a:cxn ang="0">
                <a:pos x="121" y="35"/>
              </a:cxn>
              <a:cxn ang="0">
                <a:pos x="126" y="38"/>
              </a:cxn>
              <a:cxn ang="0">
                <a:pos x="129" y="44"/>
              </a:cxn>
              <a:cxn ang="0">
                <a:pos x="119" y="48"/>
              </a:cxn>
              <a:cxn ang="0">
                <a:pos x="109" y="51"/>
              </a:cxn>
              <a:cxn ang="0">
                <a:pos x="99" y="53"/>
              </a:cxn>
              <a:cxn ang="0">
                <a:pos x="90" y="54"/>
              </a:cxn>
              <a:cxn ang="0">
                <a:pos x="70" y="56"/>
              </a:cxn>
              <a:cxn ang="0">
                <a:pos x="49" y="56"/>
              </a:cxn>
              <a:cxn ang="0">
                <a:pos x="40" y="55"/>
              </a:cxn>
              <a:cxn ang="0">
                <a:pos x="31" y="54"/>
              </a:cxn>
              <a:cxn ang="0">
                <a:pos x="23" y="52"/>
              </a:cxn>
              <a:cxn ang="0">
                <a:pos x="16" y="50"/>
              </a:cxn>
              <a:cxn ang="0">
                <a:pos x="6" y="46"/>
              </a:cxn>
              <a:cxn ang="0">
                <a:pos x="3" y="44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9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704390" y="2102967"/>
            <a:ext cx="14288" cy="57151"/>
          </a:xfrm>
          <a:custGeom>
            <a:avLst/>
            <a:gdLst/>
            <a:ahLst/>
            <a:cxnLst>
              <a:cxn ang="0">
                <a:pos x="21" y="42"/>
              </a:cxn>
              <a:cxn ang="0">
                <a:pos x="0" y="30"/>
              </a:cxn>
              <a:cxn ang="0">
                <a:pos x="0" y="6"/>
              </a:cxn>
              <a:cxn ang="0">
                <a:pos x="7" y="5"/>
              </a:cxn>
              <a:cxn ang="0">
                <a:pos x="14" y="3"/>
              </a:cxn>
              <a:cxn ang="0">
                <a:pos x="24" y="1"/>
              </a:cxn>
              <a:cxn ang="0">
                <a:pos x="34" y="0"/>
              </a:cxn>
              <a:cxn ang="0">
                <a:pos x="34" y="18"/>
              </a:cxn>
              <a:cxn ang="0">
                <a:pos x="41" y="18"/>
              </a:cxn>
              <a:cxn ang="0">
                <a:pos x="21" y="42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0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853626" y="2215686"/>
            <a:ext cx="42863" cy="60325"/>
          </a:xfrm>
          <a:custGeom>
            <a:avLst/>
            <a:gdLst/>
            <a:ahLst/>
            <a:cxnLst>
              <a:cxn ang="0">
                <a:pos x="60" y="9"/>
              </a:cxn>
              <a:cxn ang="0">
                <a:pos x="67" y="18"/>
              </a:cxn>
              <a:cxn ang="0">
                <a:pos x="77" y="28"/>
              </a:cxn>
              <a:cxn ang="0">
                <a:pos x="81" y="33"/>
              </a:cxn>
              <a:cxn ang="0">
                <a:pos x="86" y="36"/>
              </a:cxn>
              <a:cxn ang="0">
                <a:pos x="90" y="38"/>
              </a:cxn>
              <a:cxn ang="0">
                <a:pos x="93" y="39"/>
              </a:cxn>
              <a:cxn ang="0">
                <a:pos x="60" y="39"/>
              </a:cxn>
              <a:cxn ang="0">
                <a:pos x="50" y="36"/>
              </a:cxn>
              <a:cxn ang="0">
                <a:pos x="43" y="32"/>
              </a:cxn>
              <a:cxn ang="0">
                <a:pos x="36" y="28"/>
              </a:cxn>
              <a:cxn ang="0">
                <a:pos x="30" y="23"/>
              </a:cxn>
              <a:cxn ang="0">
                <a:pos x="24" y="18"/>
              </a:cxn>
              <a:cxn ang="0">
                <a:pos x="16" y="13"/>
              </a:cxn>
              <a:cxn ang="0">
                <a:pos x="9" y="7"/>
              </a:cxn>
              <a:cxn ang="0">
                <a:pos x="0" y="3"/>
              </a:cxn>
              <a:cxn ang="0">
                <a:pos x="11" y="1"/>
              </a:cxn>
              <a:cxn ang="0">
                <a:pos x="20" y="0"/>
              </a:cxn>
              <a:cxn ang="0">
                <a:pos x="26" y="0"/>
              </a:cxn>
              <a:cxn ang="0">
                <a:pos x="33" y="1"/>
              </a:cxn>
              <a:cxn ang="0">
                <a:pos x="44" y="4"/>
              </a:cxn>
              <a:cxn ang="0">
                <a:pos x="60" y="9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1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904411" y="2231553"/>
            <a:ext cx="19050" cy="58739"/>
          </a:xfrm>
          <a:custGeom>
            <a:avLst/>
            <a:gdLst/>
            <a:ahLst/>
            <a:cxnLst>
              <a:cxn ang="0">
                <a:pos x="39" y="19"/>
              </a:cxn>
              <a:cxn ang="0">
                <a:pos x="13" y="19"/>
              </a:cxn>
              <a:cxn ang="0">
                <a:pos x="8" y="19"/>
              </a:cxn>
              <a:cxn ang="0">
                <a:pos x="5" y="17"/>
              </a:cxn>
              <a:cxn ang="0">
                <a:pos x="3" y="14"/>
              </a:cxn>
              <a:cxn ang="0">
                <a:pos x="2" y="11"/>
              </a:cxn>
              <a:cxn ang="0">
                <a:pos x="0" y="5"/>
              </a:cxn>
              <a:cxn ang="0">
                <a:pos x="0" y="0"/>
              </a:cxn>
              <a:cxn ang="0">
                <a:pos x="13" y="4"/>
              </a:cxn>
              <a:cxn ang="0">
                <a:pos x="22" y="9"/>
              </a:cxn>
              <a:cxn ang="0">
                <a:pos x="30" y="14"/>
              </a:cxn>
              <a:cxn ang="0">
                <a:pos x="39" y="19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2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769481" y="2358554"/>
            <a:ext cx="14287" cy="57151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3" y="31"/>
              </a:cxn>
              <a:cxn ang="0">
                <a:pos x="10" y="20"/>
              </a:cxn>
              <a:cxn ang="0">
                <a:pos x="18" y="8"/>
              </a:cxn>
              <a:cxn ang="0">
                <a:pos x="26" y="0"/>
              </a:cxn>
              <a:cxn ang="0">
                <a:pos x="26" y="9"/>
              </a:cxn>
              <a:cxn ang="0">
                <a:pos x="26" y="18"/>
              </a:cxn>
              <a:cxn ang="0">
                <a:pos x="25" y="22"/>
              </a:cxn>
              <a:cxn ang="0">
                <a:pos x="24" y="26"/>
              </a:cxn>
              <a:cxn ang="0">
                <a:pos x="21" y="29"/>
              </a:cxn>
              <a:cxn ang="0">
                <a:pos x="17" y="32"/>
              </a:cxn>
              <a:cxn ang="0">
                <a:pos x="14" y="34"/>
              </a:cxn>
              <a:cxn ang="0">
                <a:pos x="10" y="35"/>
              </a:cxn>
              <a:cxn ang="0">
                <a:pos x="4" y="36"/>
              </a:cxn>
              <a:cxn ang="0">
                <a:pos x="0" y="36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3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780593" y="2387148"/>
            <a:ext cx="3175" cy="60325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0" y="0"/>
              </a:cxn>
              <a:cxn ang="0">
                <a:pos x="6" y="0"/>
              </a:cxn>
              <a:cxn ang="0">
                <a:pos x="6" y="31"/>
              </a:cxn>
              <a:cxn ang="0">
                <a:pos x="0" y="37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4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767901" y="2469705"/>
            <a:ext cx="9525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5"/>
              </a:cxn>
              <a:cxn ang="0">
                <a:pos x="0" y="18"/>
              </a:cxn>
              <a:cxn ang="0">
                <a:pos x="2" y="9"/>
              </a:cxn>
              <a:cxn ang="0">
                <a:pos x="7" y="0"/>
              </a:cxn>
              <a:cxn ang="0">
                <a:pos x="11" y="7"/>
              </a:cxn>
              <a:cxn ang="0">
                <a:pos x="16" y="12"/>
              </a:cxn>
              <a:cxn ang="0">
                <a:pos x="17" y="14"/>
              </a:cxn>
              <a:cxn ang="0">
                <a:pos x="19" y="18"/>
              </a:cxn>
              <a:cxn ang="0">
                <a:pos x="19" y="21"/>
              </a:cxn>
              <a:cxn ang="0">
                <a:pos x="20" y="25"/>
              </a:cxn>
              <a:cxn ang="0">
                <a:pos x="19" y="27"/>
              </a:cxn>
              <a:cxn ang="0">
                <a:pos x="18" y="30"/>
              </a:cxn>
              <a:cxn ang="0">
                <a:pos x="16" y="33"/>
              </a:cxn>
              <a:cxn ang="0">
                <a:pos x="12" y="36"/>
              </a:cxn>
              <a:cxn ang="0">
                <a:pos x="9" y="39"/>
              </a:cxn>
              <a:cxn ang="0">
                <a:pos x="6" y="41"/>
              </a:cxn>
              <a:cxn ang="0">
                <a:pos x="2" y="42"/>
              </a:cxn>
              <a:cxn ang="0">
                <a:pos x="0" y="43"/>
              </a:cxn>
              <a:cxn ang="0">
                <a:pos x="0" y="31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5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745661" y="2504604"/>
            <a:ext cx="0" cy="58739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0" y="25"/>
              </a:cxn>
              <a:cxn ang="0">
                <a:pos x="0" y="18"/>
              </a:cxn>
              <a:cxn ang="0">
                <a:pos x="0" y="9"/>
              </a:cxn>
              <a:cxn ang="0">
                <a:pos x="0" y="0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6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745661" y="2504604"/>
            <a:ext cx="7938" cy="5873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0" y="24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7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499603" y="2091862"/>
            <a:ext cx="174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3"/>
              </a:cxn>
              <a:cxn ang="0">
                <a:pos x="14" y="5"/>
              </a:cxn>
              <a:cxn ang="0">
                <a:pos x="19" y="8"/>
              </a:cxn>
              <a:cxn ang="0">
                <a:pos x="23" y="10"/>
              </a:cxn>
              <a:cxn ang="0">
                <a:pos x="26" y="12"/>
              </a:cxn>
              <a:cxn ang="0">
                <a:pos x="32" y="14"/>
              </a:cxn>
              <a:cxn ang="0">
                <a:pos x="37" y="17"/>
              </a:cxn>
              <a:cxn ang="0">
                <a:pos x="46" y="19"/>
              </a:cxn>
              <a:cxn ang="0">
                <a:pos x="33" y="19"/>
              </a:cxn>
              <a:cxn ang="0">
                <a:pos x="24" y="19"/>
              </a:cxn>
              <a:cxn ang="0">
                <a:pos x="18" y="18"/>
              </a:cxn>
              <a:cxn ang="0">
                <a:pos x="13" y="17"/>
              </a:cxn>
              <a:cxn ang="0">
                <a:pos x="10" y="14"/>
              </a:cxn>
              <a:cxn ang="0">
                <a:pos x="7" y="11"/>
              </a:cxn>
              <a:cxn ang="0">
                <a:pos x="4" y="7"/>
              </a:cxn>
              <a:cxn ang="0">
                <a:pos x="0" y="0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8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815142" y="2231553"/>
            <a:ext cx="47625" cy="58739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100" y="12"/>
              </a:cxn>
              <a:cxn ang="0">
                <a:pos x="100" y="55"/>
              </a:cxn>
              <a:cxn ang="0">
                <a:pos x="13" y="55"/>
              </a:cxn>
              <a:cxn ang="0">
                <a:pos x="0" y="43"/>
              </a:cxn>
              <a:cxn ang="0">
                <a:pos x="1" y="38"/>
              </a:cxn>
              <a:cxn ang="0">
                <a:pos x="4" y="32"/>
              </a:cxn>
              <a:cxn ang="0">
                <a:pos x="10" y="25"/>
              </a:cxn>
              <a:cxn ang="0">
                <a:pos x="16" y="18"/>
              </a:cxn>
              <a:cxn ang="0">
                <a:pos x="27" y="5"/>
              </a:cxn>
              <a:cxn ang="0">
                <a:pos x="33" y="0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9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264399" y="1823594"/>
            <a:ext cx="42862" cy="58737"/>
          </a:xfrm>
          <a:custGeom>
            <a:avLst/>
            <a:gdLst/>
            <a:ahLst/>
            <a:cxnLst>
              <a:cxn ang="0">
                <a:pos x="53" y="2"/>
              </a:cxn>
              <a:cxn ang="0">
                <a:pos x="58" y="1"/>
              </a:cxn>
              <a:cxn ang="0">
                <a:pos x="62" y="0"/>
              </a:cxn>
              <a:cxn ang="0">
                <a:pos x="65" y="0"/>
              </a:cxn>
              <a:cxn ang="0">
                <a:pos x="69" y="1"/>
              </a:cxn>
              <a:cxn ang="0">
                <a:pos x="74" y="5"/>
              </a:cxn>
              <a:cxn ang="0">
                <a:pos x="79" y="11"/>
              </a:cxn>
              <a:cxn ang="0">
                <a:pos x="83" y="18"/>
              </a:cxn>
              <a:cxn ang="0">
                <a:pos x="87" y="25"/>
              </a:cxn>
              <a:cxn ang="0">
                <a:pos x="91" y="28"/>
              </a:cxn>
              <a:cxn ang="0">
                <a:pos x="93" y="30"/>
              </a:cxn>
              <a:cxn ang="0">
                <a:pos x="96" y="32"/>
              </a:cxn>
              <a:cxn ang="0">
                <a:pos x="99" y="34"/>
              </a:cxn>
              <a:cxn ang="0">
                <a:pos x="99" y="37"/>
              </a:cxn>
              <a:cxn ang="0">
                <a:pos x="97" y="40"/>
              </a:cxn>
              <a:cxn ang="0">
                <a:pos x="95" y="43"/>
              </a:cxn>
              <a:cxn ang="0">
                <a:pos x="91" y="45"/>
              </a:cxn>
              <a:cxn ang="0">
                <a:pos x="86" y="47"/>
              </a:cxn>
              <a:cxn ang="0">
                <a:pos x="81" y="48"/>
              </a:cxn>
              <a:cxn ang="0">
                <a:pos x="74" y="50"/>
              </a:cxn>
              <a:cxn ang="0">
                <a:pos x="68" y="50"/>
              </a:cxn>
              <a:cxn ang="0">
                <a:pos x="52" y="51"/>
              </a:cxn>
              <a:cxn ang="0">
                <a:pos x="36" y="49"/>
              </a:cxn>
              <a:cxn ang="0">
                <a:pos x="27" y="48"/>
              </a:cxn>
              <a:cxn ang="0">
                <a:pos x="18" y="45"/>
              </a:cxn>
              <a:cxn ang="0">
                <a:pos x="9" y="43"/>
              </a:cxn>
              <a:cxn ang="0">
                <a:pos x="1" y="40"/>
              </a:cxn>
              <a:cxn ang="0">
                <a:pos x="0" y="39"/>
              </a:cxn>
              <a:cxn ang="0">
                <a:pos x="1" y="37"/>
              </a:cxn>
              <a:cxn ang="0">
                <a:pos x="3" y="35"/>
              </a:cxn>
              <a:cxn ang="0">
                <a:pos x="6" y="33"/>
              </a:cxn>
              <a:cxn ang="0">
                <a:pos x="14" y="29"/>
              </a:cxn>
              <a:cxn ang="0">
                <a:pos x="25" y="24"/>
              </a:cxn>
              <a:cxn ang="0">
                <a:pos x="35" y="19"/>
              </a:cxn>
              <a:cxn ang="0">
                <a:pos x="45" y="12"/>
              </a:cxn>
              <a:cxn ang="0">
                <a:pos x="48" y="10"/>
              </a:cxn>
              <a:cxn ang="0">
                <a:pos x="51" y="7"/>
              </a:cxn>
              <a:cxn ang="0">
                <a:pos x="52" y="5"/>
              </a:cxn>
              <a:cxn ang="0">
                <a:pos x="53" y="2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0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299324" y="1636243"/>
            <a:ext cx="228600" cy="163512"/>
          </a:xfrm>
          <a:custGeom>
            <a:avLst/>
            <a:gdLst/>
            <a:ahLst/>
            <a:cxnLst>
              <a:cxn ang="0">
                <a:pos x="315" y="27"/>
              </a:cxn>
              <a:cxn ang="0">
                <a:pos x="342" y="21"/>
              </a:cxn>
              <a:cxn ang="0">
                <a:pos x="385" y="20"/>
              </a:cxn>
              <a:cxn ang="0">
                <a:pos x="408" y="17"/>
              </a:cxn>
              <a:cxn ang="0">
                <a:pos x="427" y="7"/>
              </a:cxn>
              <a:cxn ang="0">
                <a:pos x="514" y="6"/>
              </a:cxn>
              <a:cxn ang="0">
                <a:pos x="525" y="19"/>
              </a:cxn>
              <a:cxn ang="0">
                <a:pos x="468" y="47"/>
              </a:cxn>
              <a:cxn ang="0">
                <a:pos x="392" y="73"/>
              </a:cxn>
              <a:cxn ang="0">
                <a:pos x="356" y="80"/>
              </a:cxn>
              <a:cxn ang="0">
                <a:pos x="321" y="83"/>
              </a:cxn>
              <a:cxn ang="0">
                <a:pos x="279" y="101"/>
              </a:cxn>
              <a:cxn ang="0">
                <a:pos x="244" y="121"/>
              </a:cxn>
              <a:cxn ang="0">
                <a:pos x="218" y="129"/>
              </a:cxn>
              <a:cxn ang="0">
                <a:pos x="187" y="123"/>
              </a:cxn>
              <a:cxn ang="0">
                <a:pos x="178" y="137"/>
              </a:cxn>
              <a:cxn ang="0">
                <a:pos x="175" y="145"/>
              </a:cxn>
              <a:cxn ang="0">
                <a:pos x="185" y="148"/>
              </a:cxn>
              <a:cxn ang="0">
                <a:pos x="184" y="157"/>
              </a:cxn>
              <a:cxn ang="0">
                <a:pos x="176" y="167"/>
              </a:cxn>
              <a:cxn ang="0">
                <a:pos x="180" y="179"/>
              </a:cxn>
              <a:cxn ang="0">
                <a:pos x="162" y="194"/>
              </a:cxn>
              <a:cxn ang="0">
                <a:pos x="144" y="204"/>
              </a:cxn>
              <a:cxn ang="0">
                <a:pos x="141" y="213"/>
              </a:cxn>
              <a:cxn ang="0">
                <a:pos x="144" y="228"/>
              </a:cxn>
              <a:cxn ang="0">
                <a:pos x="163" y="247"/>
              </a:cxn>
              <a:cxn ang="0">
                <a:pos x="191" y="267"/>
              </a:cxn>
              <a:cxn ang="0">
                <a:pos x="256" y="300"/>
              </a:cxn>
              <a:cxn ang="0">
                <a:pos x="243" y="311"/>
              </a:cxn>
              <a:cxn ang="0">
                <a:pos x="189" y="309"/>
              </a:cxn>
              <a:cxn ang="0">
                <a:pos x="145" y="308"/>
              </a:cxn>
              <a:cxn ang="0">
                <a:pos x="129" y="304"/>
              </a:cxn>
              <a:cxn ang="0">
                <a:pos x="123" y="298"/>
              </a:cxn>
              <a:cxn ang="0">
                <a:pos x="120" y="282"/>
              </a:cxn>
              <a:cxn ang="0">
                <a:pos x="116" y="278"/>
              </a:cxn>
              <a:cxn ang="0">
                <a:pos x="95" y="277"/>
              </a:cxn>
              <a:cxn ang="0">
                <a:pos x="80" y="296"/>
              </a:cxn>
              <a:cxn ang="0">
                <a:pos x="44" y="282"/>
              </a:cxn>
              <a:cxn ang="0">
                <a:pos x="0" y="246"/>
              </a:cxn>
              <a:cxn ang="0">
                <a:pos x="18" y="239"/>
              </a:cxn>
              <a:cxn ang="0">
                <a:pos x="34" y="222"/>
              </a:cxn>
              <a:cxn ang="0">
                <a:pos x="28" y="213"/>
              </a:cxn>
              <a:cxn ang="0">
                <a:pos x="34" y="200"/>
              </a:cxn>
              <a:cxn ang="0">
                <a:pos x="40" y="188"/>
              </a:cxn>
              <a:cxn ang="0">
                <a:pos x="34" y="179"/>
              </a:cxn>
              <a:cxn ang="0">
                <a:pos x="134" y="179"/>
              </a:cxn>
              <a:cxn ang="0">
                <a:pos x="131" y="177"/>
              </a:cxn>
              <a:cxn ang="0">
                <a:pos x="90" y="166"/>
              </a:cxn>
              <a:cxn ang="0">
                <a:pos x="54" y="148"/>
              </a:cxn>
              <a:cxn ang="0">
                <a:pos x="84" y="134"/>
              </a:cxn>
              <a:cxn ang="0">
                <a:pos x="120" y="111"/>
              </a:cxn>
              <a:cxn ang="0">
                <a:pos x="111" y="103"/>
              </a:cxn>
              <a:cxn ang="0">
                <a:pos x="100" y="80"/>
              </a:cxn>
              <a:cxn ang="0">
                <a:pos x="127" y="76"/>
              </a:cxn>
              <a:cxn ang="0">
                <a:pos x="184" y="58"/>
              </a:cxn>
              <a:cxn ang="0">
                <a:pos x="254" y="35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00CC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1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5091361" y="1947392"/>
            <a:ext cx="31750" cy="55563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4" y="1"/>
              </a:cxn>
              <a:cxn ang="0">
                <a:pos x="62" y="3"/>
              </a:cxn>
              <a:cxn ang="0">
                <a:pos x="68" y="7"/>
              </a:cxn>
              <a:cxn ang="0">
                <a:pos x="72" y="12"/>
              </a:cxn>
              <a:cxn ang="0">
                <a:pos x="75" y="17"/>
              </a:cxn>
              <a:cxn ang="0">
                <a:pos x="77" y="22"/>
              </a:cxn>
              <a:cxn ang="0">
                <a:pos x="79" y="27"/>
              </a:cxn>
              <a:cxn ang="0">
                <a:pos x="79" y="32"/>
              </a:cxn>
              <a:cxn ang="0">
                <a:pos x="77" y="34"/>
              </a:cxn>
              <a:cxn ang="0">
                <a:pos x="75" y="35"/>
              </a:cxn>
              <a:cxn ang="0">
                <a:pos x="72" y="36"/>
              </a:cxn>
              <a:cxn ang="0">
                <a:pos x="68" y="37"/>
              </a:cxn>
              <a:cxn ang="0">
                <a:pos x="57" y="38"/>
              </a:cxn>
              <a:cxn ang="0">
                <a:pos x="46" y="38"/>
              </a:cxn>
              <a:cxn ang="0">
                <a:pos x="38" y="37"/>
              </a:cxn>
              <a:cxn ang="0">
                <a:pos x="30" y="36"/>
              </a:cxn>
              <a:cxn ang="0">
                <a:pos x="21" y="35"/>
              </a:cxn>
              <a:cxn ang="0">
                <a:pos x="15" y="32"/>
              </a:cxn>
              <a:cxn ang="0">
                <a:pos x="8" y="29"/>
              </a:cxn>
              <a:cxn ang="0">
                <a:pos x="4" y="25"/>
              </a:cxn>
              <a:cxn ang="0">
                <a:pos x="2" y="22"/>
              </a:cxn>
              <a:cxn ang="0">
                <a:pos x="1" y="20"/>
              </a:cxn>
              <a:cxn ang="0">
                <a:pos x="0" y="17"/>
              </a:cxn>
              <a:cxn ang="0">
                <a:pos x="0" y="13"/>
              </a:cxn>
              <a:cxn ang="0">
                <a:pos x="1" y="11"/>
              </a:cxn>
              <a:cxn ang="0">
                <a:pos x="4" y="9"/>
              </a:cxn>
              <a:cxn ang="0">
                <a:pos x="10" y="6"/>
              </a:cxn>
              <a:cxn ang="0">
                <a:pos x="17" y="4"/>
              </a:cxn>
              <a:cxn ang="0">
                <a:pos x="32" y="1"/>
              </a:cxn>
              <a:cxn ang="0">
                <a:pos x="46" y="0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396411" y="2244255"/>
            <a:ext cx="196850" cy="268288"/>
          </a:xfrm>
          <a:custGeom>
            <a:avLst/>
            <a:gdLst/>
            <a:ahLst/>
            <a:cxnLst>
              <a:cxn ang="0">
                <a:pos x="26" y="45"/>
              </a:cxn>
              <a:cxn ang="0">
                <a:pos x="12" y="25"/>
              </a:cxn>
              <a:cxn ang="0">
                <a:pos x="0" y="0"/>
              </a:cxn>
              <a:cxn ang="0">
                <a:pos x="22" y="7"/>
              </a:cxn>
              <a:cxn ang="0">
                <a:pos x="33" y="6"/>
              </a:cxn>
              <a:cxn ang="0">
                <a:pos x="95" y="67"/>
              </a:cxn>
              <a:cxn ang="0">
                <a:pos x="146" y="123"/>
              </a:cxn>
              <a:cxn ang="0">
                <a:pos x="216" y="198"/>
              </a:cxn>
              <a:cxn ang="0">
                <a:pos x="258" y="237"/>
              </a:cxn>
              <a:cxn ang="0">
                <a:pos x="303" y="266"/>
              </a:cxn>
              <a:cxn ang="0">
                <a:pos x="372" y="311"/>
              </a:cxn>
              <a:cxn ang="0">
                <a:pos x="398" y="336"/>
              </a:cxn>
              <a:cxn ang="0">
                <a:pos x="365" y="320"/>
              </a:cxn>
              <a:cxn ang="0">
                <a:pos x="324" y="296"/>
              </a:cxn>
              <a:cxn ang="0">
                <a:pos x="314" y="298"/>
              </a:cxn>
              <a:cxn ang="0">
                <a:pos x="313" y="311"/>
              </a:cxn>
              <a:cxn ang="0">
                <a:pos x="317" y="337"/>
              </a:cxn>
              <a:cxn ang="0">
                <a:pos x="326" y="358"/>
              </a:cxn>
              <a:cxn ang="0">
                <a:pos x="348" y="387"/>
              </a:cxn>
              <a:cxn ang="0">
                <a:pos x="394" y="421"/>
              </a:cxn>
              <a:cxn ang="0">
                <a:pos x="440" y="458"/>
              </a:cxn>
              <a:cxn ang="0">
                <a:pos x="448" y="476"/>
              </a:cxn>
              <a:cxn ang="0">
                <a:pos x="428" y="469"/>
              </a:cxn>
              <a:cxn ang="0">
                <a:pos x="392" y="462"/>
              </a:cxn>
              <a:cxn ang="0">
                <a:pos x="393" y="494"/>
              </a:cxn>
              <a:cxn ang="0">
                <a:pos x="398" y="511"/>
              </a:cxn>
              <a:cxn ang="0">
                <a:pos x="388" y="492"/>
              </a:cxn>
              <a:cxn ang="0">
                <a:pos x="363" y="466"/>
              </a:cxn>
              <a:cxn ang="0">
                <a:pos x="343" y="445"/>
              </a:cxn>
              <a:cxn ang="0">
                <a:pos x="339" y="431"/>
              </a:cxn>
              <a:cxn ang="0">
                <a:pos x="328" y="411"/>
              </a:cxn>
              <a:cxn ang="0">
                <a:pos x="310" y="384"/>
              </a:cxn>
              <a:cxn ang="0">
                <a:pos x="298" y="367"/>
              </a:cxn>
              <a:cxn ang="0">
                <a:pos x="280" y="358"/>
              </a:cxn>
              <a:cxn ang="0">
                <a:pos x="264" y="343"/>
              </a:cxn>
              <a:cxn ang="0">
                <a:pos x="249" y="314"/>
              </a:cxn>
              <a:cxn ang="0">
                <a:pos x="245" y="293"/>
              </a:cxn>
              <a:cxn ang="0">
                <a:pos x="234" y="281"/>
              </a:cxn>
              <a:cxn ang="0">
                <a:pos x="194" y="244"/>
              </a:cxn>
              <a:cxn ang="0">
                <a:pos x="171" y="220"/>
              </a:cxn>
              <a:cxn ang="0">
                <a:pos x="163" y="203"/>
              </a:cxn>
              <a:cxn ang="0">
                <a:pos x="154" y="187"/>
              </a:cxn>
              <a:cxn ang="0">
                <a:pos x="115" y="155"/>
              </a:cxn>
              <a:cxn ang="0">
                <a:pos x="70" y="130"/>
              </a:cxn>
              <a:cxn ang="0">
                <a:pos x="47" y="110"/>
              </a:cxn>
              <a:cxn ang="0">
                <a:pos x="38" y="93"/>
              </a:cxn>
              <a:cxn ang="0">
                <a:pos x="34" y="75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23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6186742" y="2199814"/>
            <a:ext cx="671513" cy="384175"/>
            <a:chOff x="4115" y="1551"/>
            <a:chExt cx="504" cy="244"/>
          </a:xfrm>
        </p:grpSpPr>
        <p:sp>
          <p:nvSpPr>
            <p:cNvPr id="524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/>
              <a:ahLst/>
              <a:cxnLst>
                <a:cxn ang="0">
                  <a:pos x="13" y="247"/>
                </a:cxn>
                <a:cxn ang="0">
                  <a:pos x="79" y="259"/>
                </a:cxn>
                <a:cxn ang="0">
                  <a:pos x="120" y="240"/>
                </a:cxn>
                <a:cxn ang="0">
                  <a:pos x="133" y="210"/>
                </a:cxn>
                <a:cxn ang="0">
                  <a:pos x="192" y="161"/>
                </a:cxn>
                <a:cxn ang="0">
                  <a:pos x="212" y="111"/>
                </a:cxn>
                <a:cxn ang="0">
                  <a:pos x="240" y="26"/>
                </a:cxn>
                <a:cxn ang="0">
                  <a:pos x="212" y="0"/>
                </a:cxn>
                <a:cxn ang="0">
                  <a:pos x="206" y="32"/>
                </a:cxn>
                <a:cxn ang="0">
                  <a:pos x="199" y="74"/>
                </a:cxn>
                <a:cxn ang="0">
                  <a:pos x="166" y="105"/>
                </a:cxn>
                <a:cxn ang="0">
                  <a:pos x="133" y="149"/>
                </a:cxn>
                <a:cxn ang="0">
                  <a:pos x="113" y="179"/>
                </a:cxn>
                <a:cxn ang="0">
                  <a:pos x="93" y="216"/>
                </a:cxn>
                <a:cxn ang="0">
                  <a:pos x="20" y="222"/>
                </a:cxn>
                <a:cxn ang="0">
                  <a:pos x="0" y="222"/>
                </a:cxn>
                <a:cxn ang="0">
                  <a:pos x="13" y="247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5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6" y="86"/>
                </a:cxn>
                <a:cxn ang="0">
                  <a:pos x="52" y="62"/>
                </a:cxn>
                <a:cxn ang="0">
                  <a:pos x="72" y="49"/>
                </a:cxn>
                <a:cxn ang="0">
                  <a:pos x="126" y="43"/>
                </a:cxn>
                <a:cxn ang="0">
                  <a:pos x="172" y="43"/>
                </a:cxn>
                <a:cxn ang="0">
                  <a:pos x="246" y="31"/>
                </a:cxn>
                <a:cxn ang="0">
                  <a:pos x="259" y="7"/>
                </a:cxn>
                <a:cxn ang="0">
                  <a:pos x="246" y="0"/>
                </a:cxn>
                <a:cxn ang="0">
                  <a:pos x="205" y="13"/>
                </a:cxn>
                <a:cxn ang="0">
                  <a:pos x="152" y="7"/>
                </a:cxn>
                <a:cxn ang="0">
                  <a:pos x="106" y="13"/>
                </a:cxn>
                <a:cxn ang="0">
                  <a:pos x="52" y="19"/>
                </a:cxn>
                <a:cxn ang="0">
                  <a:pos x="26" y="43"/>
                </a:cxn>
                <a:cxn ang="0">
                  <a:pos x="0" y="68"/>
                </a:cxn>
                <a:cxn ang="0">
                  <a:pos x="0" y="104"/>
                </a:cxn>
                <a:cxn ang="0">
                  <a:pos x="33" y="104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26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243770" y="2949131"/>
            <a:ext cx="530225" cy="511175"/>
          </a:xfrm>
          <a:custGeom>
            <a:avLst/>
            <a:gdLst/>
            <a:ahLst/>
            <a:cxnLst>
              <a:cxn ang="0">
                <a:pos x="932" y="466"/>
              </a:cxn>
              <a:cxn ang="0">
                <a:pos x="932" y="442"/>
              </a:cxn>
              <a:cxn ang="0">
                <a:pos x="930" y="412"/>
              </a:cxn>
              <a:cxn ang="0">
                <a:pos x="908" y="385"/>
              </a:cxn>
              <a:cxn ang="0">
                <a:pos x="899" y="367"/>
              </a:cxn>
              <a:cxn ang="0">
                <a:pos x="817" y="312"/>
              </a:cxn>
              <a:cxn ang="0">
                <a:pos x="759" y="263"/>
              </a:cxn>
              <a:cxn ang="0">
                <a:pos x="752" y="229"/>
              </a:cxn>
              <a:cxn ang="0">
                <a:pos x="726" y="218"/>
              </a:cxn>
              <a:cxn ang="0">
                <a:pos x="695" y="207"/>
              </a:cxn>
              <a:cxn ang="0">
                <a:pos x="638" y="196"/>
              </a:cxn>
              <a:cxn ang="0">
                <a:pos x="596" y="201"/>
              </a:cxn>
              <a:cxn ang="0">
                <a:pos x="570" y="204"/>
              </a:cxn>
              <a:cxn ang="0">
                <a:pos x="530" y="195"/>
              </a:cxn>
              <a:cxn ang="0">
                <a:pos x="505" y="179"/>
              </a:cxn>
              <a:cxn ang="0">
                <a:pos x="483" y="128"/>
              </a:cxn>
              <a:cxn ang="0">
                <a:pos x="465" y="103"/>
              </a:cxn>
              <a:cxn ang="0">
                <a:pos x="432" y="81"/>
              </a:cxn>
              <a:cxn ang="0">
                <a:pos x="365" y="61"/>
              </a:cxn>
              <a:cxn ang="0">
                <a:pos x="303" y="32"/>
              </a:cxn>
              <a:cxn ang="0">
                <a:pos x="214" y="10"/>
              </a:cxn>
              <a:cxn ang="0">
                <a:pos x="166" y="38"/>
              </a:cxn>
              <a:cxn ang="0">
                <a:pos x="151" y="61"/>
              </a:cxn>
              <a:cxn ang="0">
                <a:pos x="153" y="90"/>
              </a:cxn>
              <a:cxn ang="0">
                <a:pos x="169" y="118"/>
              </a:cxn>
              <a:cxn ang="0">
                <a:pos x="151" y="150"/>
              </a:cxn>
              <a:cxn ang="0">
                <a:pos x="95" y="186"/>
              </a:cxn>
              <a:cxn ang="0">
                <a:pos x="54" y="190"/>
              </a:cxn>
              <a:cxn ang="0">
                <a:pos x="9" y="183"/>
              </a:cxn>
              <a:cxn ang="0">
                <a:pos x="0" y="236"/>
              </a:cxn>
              <a:cxn ang="0">
                <a:pos x="9" y="269"/>
              </a:cxn>
              <a:cxn ang="0">
                <a:pos x="25" y="282"/>
              </a:cxn>
              <a:cxn ang="0">
                <a:pos x="40" y="307"/>
              </a:cxn>
              <a:cxn ang="0">
                <a:pos x="83" y="364"/>
              </a:cxn>
              <a:cxn ang="0">
                <a:pos x="102" y="414"/>
              </a:cxn>
              <a:cxn ang="0">
                <a:pos x="121" y="427"/>
              </a:cxn>
              <a:cxn ang="0">
                <a:pos x="133" y="438"/>
              </a:cxn>
              <a:cxn ang="0">
                <a:pos x="148" y="469"/>
              </a:cxn>
              <a:cxn ang="0">
                <a:pos x="224" y="546"/>
              </a:cxn>
              <a:cxn ang="0">
                <a:pos x="249" y="585"/>
              </a:cxn>
              <a:cxn ang="0">
                <a:pos x="256" y="624"/>
              </a:cxn>
              <a:cxn ang="0">
                <a:pos x="266" y="659"/>
              </a:cxn>
              <a:cxn ang="0">
                <a:pos x="299" y="701"/>
              </a:cxn>
              <a:cxn ang="0">
                <a:pos x="361" y="761"/>
              </a:cxn>
              <a:cxn ang="0">
                <a:pos x="388" y="814"/>
              </a:cxn>
              <a:cxn ang="0">
                <a:pos x="425" y="867"/>
              </a:cxn>
              <a:cxn ang="0">
                <a:pos x="483" y="938"/>
              </a:cxn>
              <a:cxn ang="0">
                <a:pos x="528" y="979"/>
              </a:cxn>
              <a:cxn ang="0">
                <a:pos x="543" y="953"/>
              </a:cxn>
              <a:cxn ang="0">
                <a:pos x="546" y="909"/>
              </a:cxn>
              <a:cxn ang="0">
                <a:pos x="570" y="896"/>
              </a:cxn>
              <a:cxn ang="0">
                <a:pos x="605" y="895"/>
              </a:cxn>
              <a:cxn ang="0">
                <a:pos x="660" y="909"/>
              </a:cxn>
              <a:cxn ang="0">
                <a:pos x="708" y="943"/>
              </a:cxn>
              <a:cxn ang="0">
                <a:pos x="787" y="838"/>
              </a:cxn>
              <a:cxn ang="0">
                <a:pos x="1199" y="567"/>
              </a:cxn>
              <a:cxn ang="0">
                <a:pos x="940" y="468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7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718299" y="2493493"/>
            <a:ext cx="57150" cy="57151"/>
          </a:xfrm>
          <a:custGeom>
            <a:avLst/>
            <a:gdLst/>
            <a:ahLst/>
            <a:cxnLst>
              <a:cxn ang="0">
                <a:pos x="146" y="18"/>
              </a:cxn>
              <a:cxn ang="0">
                <a:pos x="138" y="24"/>
              </a:cxn>
              <a:cxn ang="0">
                <a:pos x="130" y="29"/>
              </a:cxn>
              <a:cxn ang="0">
                <a:pos x="123" y="35"/>
              </a:cxn>
              <a:cxn ang="0">
                <a:pos x="118" y="41"/>
              </a:cxn>
              <a:cxn ang="0">
                <a:pos x="108" y="53"/>
              </a:cxn>
              <a:cxn ang="0">
                <a:pos x="98" y="64"/>
              </a:cxn>
              <a:cxn ang="0">
                <a:pos x="93" y="69"/>
              </a:cxn>
              <a:cxn ang="0">
                <a:pos x="85" y="73"/>
              </a:cxn>
              <a:cxn ang="0">
                <a:pos x="76" y="77"/>
              </a:cxn>
              <a:cxn ang="0">
                <a:pos x="66" y="80"/>
              </a:cxn>
              <a:cxn ang="0">
                <a:pos x="53" y="81"/>
              </a:cxn>
              <a:cxn ang="0">
                <a:pos x="39" y="80"/>
              </a:cxn>
              <a:cxn ang="0">
                <a:pos x="21" y="77"/>
              </a:cxn>
              <a:cxn ang="0">
                <a:pos x="0" y="74"/>
              </a:cxn>
              <a:cxn ang="0">
                <a:pos x="0" y="62"/>
              </a:cxn>
              <a:cxn ang="0">
                <a:pos x="0" y="49"/>
              </a:cxn>
              <a:cxn ang="0">
                <a:pos x="0" y="34"/>
              </a:cxn>
              <a:cxn ang="0">
                <a:pos x="0" y="18"/>
              </a:cxn>
              <a:cxn ang="0">
                <a:pos x="14" y="18"/>
              </a:cxn>
              <a:cxn ang="0">
                <a:pos x="22" y="18"/>
              </a:cxn>
              <a:cxn ang="0">
                <a:pos x="31" y="18"/>
              </a:cxn>
              <a:cxn ang="0">
                <a:pos x="40" y="18"/>
              </a:cxn>
              <a:cxn ang="0">
                <a:pos x="52" y="18"/>
              </a:cxn>
              <a:cxn ang="0">
                <a:pos x="63" y="16"/>
              </a:cxn>
              <a:cxn ang="0">
                <a:pos x="73" y="14"/>
              </a:cxn>
              <a:cxn ang="0">
                <a:pos x="83" y="11"/>
              </a:cxn>
              <a:cxn ang="0">
                <a:pos x="101" y="5"/>
              </a:cxn>
              <a:cxn ang="0">
                <a:pos x="120" y="0"/>
              </a:cxn>
              <a:cxn ang="0">
                <a:pos x="129" y="4"/>
              </a:cxn>
              <a:cxn ang="0">
                <a:pos x="135" y="9"/>
              </a:cxn>
              <a:cxn ang="0">
                <a:pos x="141" y="14"/>
              </a:cxn>
              <a:cxn ang="0">
                <a:pos x="146" y="18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8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457953" y="2706218"/>
            <a:ext cx="15875" cy="57151"/>
          </a:xfrm>
          <a:custGeom>
            <a:avLst/>
            <a:gdLst/>
            <a:ahLst/>
            <a:cxnLst>
              <a:cxn ang="0">
                <a:pos x="34" y="49"/>
              </a:cxn>
              <a:cxn ang="0">
                <a:pos x="34" y="34"/>
              </a:cxn>
              <a:cxn ang="0">
                <a:pos x="34" y="25"/>
              </a:cxn>
              <a:cxn ang="0">
                <a:pos x="33" y="21"/>
              </a:cxn>
              <a:cxn ang="0">
                <a:pos x="33" y="17"/>
              </a:cxn>
              <a:cxn ang="0">
                <a:pos x="31" y="15"/>
              </a:cxn>
              <a:cxn ang="0">
                <a:pos x="30" y="12"/>
              </a:cxn>
              <a:cxn ang="0">
                <a:pos x="25" y="8"/>
              </a:cxn>
              <a:cxn ang="0">
                <a:pos x="21" y="0"/>
              </a:cxn>
              <a:cxn ang="0">
                <a:pos x="8" y="0"/>
              </a:cxn>
              <a:cxn ang="0">
                <a:pos x="0" y="0"/>
              </a:cxn>
              <a:cxn ang="0">
                <a:pos x="3" y="11"/>
              </a:cxn>
              <a:cxn ang="0">
                <a:pos x="7" y="20"/>
              </a:cxn>
              <a:cxn ang="0">
                <a:pos x="10" y="27"/>
              </a:cxn>
              <a:cxn ang="0">
                <a:pos x="14" y="34"/>
              </a:cxn>
              <a:cxn ang="0">
                <a:pos x="19" y="39"/>
              </a:cxn>
              <a:cxn ang="0">
                <a:pos x="24" y="43"/>
              </a:cxn>
              <a:cxn ang="0">
                <a:pos x="29" y="46"/>
              </a:cxn>
              <a:cxn ang="0">
                <a:pos x="34" y="49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0099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9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4049963" y="3052293"/>
            <a:ext cx="28575" cy="57151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6" y="4"/>
              </a:cxn>
              <a:cxn ang="0">
                <a:pos x="51" y="10"/>
              </a:cxn>
              <a:cxn ang="0">
                <a:pos x="48" y="15"/>
              </a:cxn>
              <a:cxn ang="0">
                <a:pos x="46" y="21"/>
              </a:cxn>
              <a:cxn ang="0">
                <a:pos x="41" y="31"/>
              </a:cxn>
              <a:cxn ang="0">
                <a:pos x="37" y="42"/>
              </a:cxn>
              <a:cxn ang="0">
                <a:pos x="35" y="47"/>
              </a:cxn>
              <a:cxn ang="0">
                <a:pos x="32" y="51"/>
              </a:cxn>
              <a:cxn ang="0">
                <a:pos x="29" y="56"/>
              </a:cxn>
              <a:cxn ang="0">
                <a:pos x="25" y="60"/>
              </a:cxn>
              <a:cxn ang="0">
                <a:pos x="20" y="65"/>
              </a:cxn>
              <a:cxn ang="0">
                <a:pos x="15" y="69"/>
              </a:cxn>
              <a:cxn ang="0">
                <a:pos x="8" y="72"/>
              </a:cxn>
              <a:cxn ang="0">
                <a:pos x="0" y="74"/>
              </a:cxn>
              <a:cxn ang="0">
                <a:pos x="5" y="60"/>
              </a:cxn>
              <a:cxn ang="0">
                <a:pos x="12" y="47"/>
              </a:cxn>
              <a:cxn ang="0">
                <a:pos x="19" y="34"/>
              </a:cxn>
              <a:cxn ang="0">
                <a:pos x="27" y="23"/>
              </a:cxn>
              <a:cxn ang="0">
                <a:pos x="36" y="14"/>
              </a:cxn>
              <a:cxn ang="0">
                <a:pos x="43" y="6"/>
              </a:cxn>
              <a:cxn ang="0">
                <a:pos x="48" y="3"/>
              </a:cxn>
              <a:cxn ang="0">
                <a:pos x="52" y="1"/>
              </a:cxn>
              <a:cxn ang="0">
                <a:pos x="56" y="0"/>
              </a:cxn>
              <a:cxn ang="0">
                <a:pos x="60" y="0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0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991224" y="3068194"/>
            <a:ext cx="23812" cy="60325"/>
          </a:xfrm>
          <a:custGeom>
            <a:avLst/>
            <a:gdLst/>
            <a:ahLst/>
            <a:cxnLst>
              <a:cxn ang="0">
                <a:pos x="13" y="8"/>
              </a:cxn>
              <a:cxn ang="0">
                <a:pos x="22" y="8"/>
              </a:cxn>
              <a:cxn ang="0">
                <a:pos x="28" y="6"/>
              </a:cxn>
              <a:cxn ang="0">
                <a:pos x="32" y="5"/>
              </a:cxn>
              <a:cxn ang="0">
                <a:pos x="35" y="3"/>
              </a:cxn>
              <a:cxn ang="0">
                <a:pos x="37" y="1"/>
              </a:cxn>
              <a:cxn ang="0">
                <a:pos x="39" y="0"/>
              </a:cxn>
              <a:cxn ang="0">
                <a:pos x="43" y="1"/>
              </a:cxn>
              <a:cxn ang="0">
                <a:pos x="47" y="2"/>
              </a:cxn>
              <a:cxn ang="0">
                <a:pos x="46" y="7"/>
              </a:cxn>
              <a:cxn ang="0">
                <a:pos x="46" y="11"/>
              </a:cxn>
              <a:cxn ang="0">
                <a:pos x="44" y="15"/>
              </a:cxn>
              <a:cxn ang="0">
                <a:pos x="43" y="19"/>
              </a:cxn>
              <a:cxn ang="0">
                <a:pos x="37" y="26"/>
              </a:cxn>
              <a:cxn ang="0">
                <a:pos x="30" y="32"/>
              </a:cxn>
              <a:cxn ang="0">
                <a:pos x="24" y="38"/>
              </a:cxn>
              <a:cxn ang="0">
                <a:pos x="16" y="42"/>
              </a:cxn>
              <a:cxn ang="0">
                <a:pos x="7" y="45"/>
              </a:cxn>
              <a:cxn ang="0">
                <a:pos x="0" y="45"/>
              </a:cxn>
              <a:cxn ang="0">
                <a:pos x="2" y="38"/>
              </a:cxn>
              <a:cxn ang="0">
                <a:pos x="6" y="26"/>
              </a:cxn>
              <a:cxn ang="0">
                <a:pos x="11" y="15"/>
              </a:cxn>
              <a:cxn ang="0">
                <a:pos x="13" y="8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1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965824" y="3061818"/>
            <a:ext cx="6350" cy="57151"/>
          </a:xfrm>
          <a:custGeom>
            <a:avLst/>
            <a:gdLst/>
            <a:ahLst/>
            <a:cxnLst>
              <a:cxn ang="0">
                <a:pos x="6" y="36"/>
              </a:cxn>
              <a:cxn ang="0">
                <a:pos x="5" y="30"/>
              </a:cxn>
              <a:cxn ang="0">
                <a:pos x="3" y="20"/>
              </a:cxn>
              <a:cxn ang="0">
                <a:pos x="1" y="10"/>
              </a:cxn>
              <a:cxn ang="0">
                <a:pos x="0" y="0"/>
              </a:cxn>
              <a:cxn ang="0">
                <a:pos x="26" y="0"/>
              </a:cxn>
              <a:cxn ang="0">
                <a:pos x="25" y="12"/>
              </a:cxn>
              <a:cxn ang="0">
                <a:pos x="24" y="23"/>
              </a:cxn>
              <a:cxn ang="0">
                <a:pos x="23" y="27"/>
              </a:cxn>
              <a:cxn ang="0">
                <a:pos x="23" y="31"/>
              </a:cxn>
              <a:cxn ang="0">
                <a:pos x="24" y="34"/>
              </a:cxn>
              <a:cxn ang="0">
                <a:pos x="26" y="36"/>
              </a:cxn>
              <a:cxn ang="0">
                <a:pos x="6" y="36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2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237426" y="2790354"/>
            <a:ext cx="174625" cy="158751"/>
          </a:xfrm>
          <a:custGeom>
            <a:avLst/>
            <a:gdLst/>
            <a:ahLst/>
            <a:cxnLst>
              <a:cxn ang="0">
                <a:pos x="26" y="162"/>
              </a:cxn>
              <a:cxn ang="0">
                <a:pos x="28" y="156"/>
              </a:cxn>
              <a:cxn ang="0">
                <a:pos x="30" y="154"/>
              </a:cxn>
              <a:cxn ang="0">
                <a:pos x="28" y="151"/>
              </a:cxn>
              <a:cxn ang="0">
                <a:pos x="18" y="143"/>
              </a:cxn>
              <a:cxn ang="0">
                <a:pos x="6" y="127"/>
              </a:cxn>
              <a:cxn ang="0">
                <a:pos x="2" y="116"/>
              </a:cxn>
              <a:cxn ang="0">
                <a:pos x="5" y="112"/>
              </a:cxn>
              <a:cxn ang="0">
                <a:pos x="6" y="104"/>
              </a:cxn>
              <a:cxn ang="0">
                <a:pos x="17" y="97"/>
              </a:cxn>
              <a:cxn ang="0">
                <a:pos x="34" y="93"/>
              </a:cxn>
              <a:cxn ang="0">
                <a:pos x="47" y="88"/>
              </a:cxn>
              <a:cxn ang="0">
                <a:pos x="57" y="82"/>
              </a:cxn>
              <a:cxn ang="0">
                <a:pos x="67" y="70"/>
              </a:cxn>
              <a:cxn ang="0">
                <a:pos x="75" y="52"/>
              </a:cxn>
              <a:cxn ang="0">
                <a:pos x="84" y="47"/>
              </a:cxn>
              <a:cxn ang="0">
                <a:pos x="95" y="52"/>
              </a:cxn>
              <a:cxn ang="0">
                <a:pos x="117" y="54"/>
              </a:cxn>
              <a:cxn ang="0">
                <a:pos x="169" y="46"/>
              </a:cxn>
              <a:cxn ang="0">
                <a:pos x="212" y="43"/>
              </a:cxn>
              <a:cxn ang="0">
                <a:pos x="234" y="41"/>
              </a:cxn>
              <a:cxn ang="0">
                <a:pos x="264" y="35"/>
              </a:cxn>
              <a:cxn ang="0">
                <a:pos x="318" y="17"/>
              </a:cxn>
              <a:cxn ang="0">
                <a:pos x="359" y="4"/>
              </a:cxn>
              <a:cxn ang="0">
                <a:pos x="372" y="3"/>
              </a:cxn>
              <a:cxn ang="0">
                <a:pos x="385" y="3"/>
              </a:cxn>
              <a:cxn ang="0">
                <a:pos x="398" y="1"/>
              </a:cxn>
              <a:cxn ang="0">
                <a:pos x="395" y="8"/>
              </a:cxn>
              <a:cxn ang="0">
                <a:pos x="360" y="41"/>
              </a:cxn>
              <a:cxn ang="0">
                <a:pos x="344" y="57"/>
              </a:cxn>
              <a:cxn ang="0">
                <a:pos x="339" y="64"/>
              </a:cxn>
              <a:cxn ang="0">
                <a:pos x="339" y="96"/>
              </a:cxn>
              <a:cxn ang="0">
                <a:pos x="337" y="149"/>
              </a:cxn>
              <a:cxn ang="0">
                <a:pos x="335" y="180"/>
              </a:cxn>
              <a:cxn ang="0">
                <a:pos x="326" y="198"/>
              </a:cxn>
              <a:cxn ang="0">
                <a:pos x="305" y="210"/>
              </a:cxn>
              <a:cxn ang="0">
                <a:pos x="265" y="227"/>
              </a:cxn>
              <a:cxn ang="0">
                <a:pos x="106" y="302"/>
              </a:cxn>
              <a:cxn ang="0">
                <a:pos x="57" y="260"/>
              </a:cxn>
              <a:cxn ang="0">
                <a:pos x="70" y="228"/>
              </a:cxn>
              <a:cxn ang="0">
                <a:pos x="81" y="209"/>
              </a:cxn>
              <a:cxn ang="0">
                <a:pos x="86" y="172"/>
              </a:cxn>
              <a:cxn ang="0">
                <a:pos x="71" y="173"/>
              </a:cxn>
              <a:cxn ang="0">
                <a:pos x="57" y="169"/>
              </a:cxn>
              <a:cxn ang="0">
                <a:pos x="41" y="165"/>
              </a:cxn>
              <a:cxn ang="0">
                <a:pos x="26" y="166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3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331324" y="3171382"/>
            <a:ext cx="42862" cy="79375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34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978650" y="2639543"/>
            <a:ext cx="482600" cy="201612"/>
            <a:chOff x="3289" y="1830"/>
            <a:chExt cx="363" cy="128"/>
          </a:xfrm>
        </p:grpSpPr>
        <p:sp>
          <p:nvSpPr>
            <p:cNvPr id="535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2" y="1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0" y="7"/>
                </a:cxn>
                <a:cxn ang="0">
                  <a:pos x="7" y="3"/>
                </a:cxn>
                <a:cxn ang="0">
                  <a:pos x="13" y="0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6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5"/>
                </a:cxn>
                <a:cxn ang="0">
                  <a:pos x="15" y="3"/>
                </a:cxn>
                <a:cxn ang="0">
                  <a:pos x="25" y="1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7" y="4"/>
                </a:cxn>
                <a:cxn ang="0">
                  <a:pos x="22" y="6"/>
                </a:cxn>
                <a:cxn ang="0">
                  <a:pos x="18" y="7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0" y="6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7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13" y="12"/>
                </a:cxn>
                <a:cxn ang="0">
                  <a:pos x="0" y="24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8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27"/>
                </a:cxn>
                <a:cxn ang="0">
                  <a:pos x="0" y="45"/>
                </a:cxn>
                <a:cxn ang="0">
                  <a:pos x="0" y="62"/>
                </a:cxn>
                <a:cxn ang="0">
                  <a:pos x="0" y="69"/>
                </a:cxn>
                <a:cxn ang="0">
                  <a:pos x="16" y="66"/>
                </a:cxn>
                <a:cxn ang="0">
                  <a:pos x="49" y="58"/>
                </a:cxn>
                <a:cxn ang="0">
                  <a:pos x="85" y="50"/>
                </a:cxn>
                <a:cxn ang="0">
                  <a:pos x="107" y="44"/>
                </a:cxn>
                <a:cxn ang="0">
                  <a:pos x="101" y="38"/>
                </a:cxn>
                <a:cxn ang="0">
                  <a:pos x="94" y="34"/>
                </a:cxn>
                <a:cxn ang="0">
                  <a:pos x="86" y="30"/>
                </a:cxn>
                <a:cxn ang="0">
                  <a:pos x="78" y="27"/>
                </a:cxn>
                <a:cxn ang="0">
                  <a:pos x="72" y="23"/>
                </a:cxn>
                <a:cxn ang="0">
                  <a:pos x="65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7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38" y="4"/>
                </a:cxn>
                <a:cxn ang="0">
                  <a:pos x="18" y="9"/>
                </a:cxn>
                <a:cxn ang="0">
                  <a:pos x="0" y="13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9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/>
              <a:ahLst/>
              <a:cxnLst>
                <a:cxn ang="0">
                  <a:pos x="992" y="124"/>
                </a:cxn>
                <a:cxn ang="0">
                  <a:pos x="970" y="103"/>
                </a:cxn>
                <a:cxn ang="0">
                  <a:pos x="962" y="57"/>
                </a:cxn>
                <a:cxn ang="0">
                  <a:pos x="936" y="36"/>
                </a:cxn>
                <a:cxn ang="0">
                  <a:pos x="817" y="19"/>
                </a:cxn>
                <a:cxn ang="0">
                  <a:pos x="726" y="58"/>
                </a:cxn>
                <a:cxn ang="0">
                  <a:pos x="678" y="65"/>
                </a:cxn>
                <a:cxn ang="0">
                  <a:pos x="632" y="65"/>
                </a:cxn>
                <a:cxn ang="0">
                  <a:pos x="612" y="44"/>
                </a:cxn>
                <a:cxn ang="0">
                  <a:pos x="560" y="37"/>
                </a:cxn>
                <a:cxn ang="0">
                  <a:pos x="525" y="19"/>
                </a:cxn>
                <a:cxn ang="0">
                  <a:pos x="483" y="21"/>
                </a:cxn>
                <a:cxn ang="0">
                  <a:pos x="465" y="0"/>
                </a:cxn>
                <a:cxn ang="0">
                  <a:pos x="390" y="16"/>
                </a:cxn>
                <a:cxn ang="0">
                  <a:pos x="299" y="26"/>
                </a:cxn>
                <a:cxn ang="0">
                  <a:pos x="257" y="45"/>
                </a:cxn>
                <a:cxn ang="0">
                  <a:pos x="138" y="61"/>
                </a:cxn>
                <a:cxn ang="0">
                  <a:pos x="173" y="75"/>
                </a:cxn>
                <a:cxn ang="0">
                  <a:pos x="164" y="90"/>
                </a:cxn>
                <a:cxn ang="0">
                  <a:pos x="114" y="93"/>
                </a:cxn>
                <a:cxn ang="0">
                  <a:pos x="42" y="94"/>
                </a:cxn>
                <a:cxn ang="0">
                  <a:pos x="8" y="110"/>
                </a:cxn>
                <a:cxn ang="0">
                  <a:pos x="0" y="147"/>
                </a:cxn>
                <a:cxn ang="0">
                  <a:pos x="16" y="167"/>
                </a:cxn>
                <a:cxn ang="0">
                  <a:pos x="22" y="193"/>
                </a:cxn>
                <a:cxn ang="0">
                  <a:pos x="21" y="210"/>
                </a:cxn>
                <a:cxn ang="0">
                  <a:pos x="49" y="237"/>
                </a:cxn>
                <a:cxn ang="0">
                  <a:pos x="56" y="259"/>
                </a:cxn>
                <a:cxn ang="0">
                  <a:pos x="74" y="271"/>
                </a:cxn>
                <a:cxn ang="0">
                  <a:pos x="96" y="290"/>
                </a:cxn>
                <a:cxn ang="0">
                  <a:pos x="205" y="352"/>
                </a:cxn>
                <a:cxn ang="0">
                  <a:pos x="253" y="370"/>
                </a:cxn>
                <a:cxn ang="0">
                  <a:pos x="267" y="358"/>
                </a:cxn>
                <a:cxn ang="0">
                  <a:pos x="277" y="338"/>
                </a:cxn>
                <a:cxn ang="0">
                  <a:pos x="297" y="316"/>
                </a:cxn>
                <a:cxn ang="0">
                  <a:pos x="334" y="323"/>
                </a:cxn>
                <a:cxn ang="0">
                  <a:pos x="362" y="358"/>
                </a:cxn>
                <a:cxn ang="0">
                  <a:pos x="399" y="370"/>
                </a:cxn>
                <a:cxn ang="0">
                  <a:pos x="447" y="359"/>
                </a:cxn>
                <a:cxn ang="0">
                  <a:pos x="493" y="335"/>
                </a:cxn>
                <a:cxn ang="0">
                  <a:pos x="525" y="327"/>
                </a:cxn>
                <a:cxn ang="0">
                  <a:pos x="564" y="326"/>
                </a:cxn>
                <a:cxn ang="0">
                  <a:pos x="567" y="367"/>
                </a:cxn>
                <a:cxn ang="0">
                  <a:pos x="590" y="377"/>
                </a:cxn>
                <a:cxn ang="0">
                  <a:pos x="613" y="362"/>
                </a:cxn>
                <a:cxn ang="0">
                  <a:pos x="647" y="336"/>
                </a:cxn>
                <a:cxn ang="0">
                  <a:pos x="752" y="327"/>
                </a:cxn>
                <a:cxn ang="0">
                  <a:pos x="831" y="315"/>
                </a:cxn>
                <a:cxn ang="0">
                  <a:pos x="918" y="283"/>
                </a:cxn>
                <a:cxn ang="0">
                  <a:pos x="967" y="286"/>
                </a:cxn>
                <a:cxn ang="0">
                  <a:pos x="1005" y="293"/>
                </a:cxn>
                <a:cxn ang="0">
                  <a:pos x="1056" y="308"/>
                </a:cxn>
                <a:cxn ang="0">
                  <a:pos x="1056" y="268"/>
                </a:cxn>
                <a:cxn ang="0">
                  <a:pos x="1026" y="219"/>
                </a:cxn>
                <a:cxn ang="0">
                  <a:pos x="1017" y="167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40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967301" y="3792072"/>
            <a:ext cx="100013" cy="122237"/>
          </a:xfrm>
          <a:custGeom>
            <a:avLst/>
            <a:gdLst/>
            <a:ahLst/>
            <a:cxnLst>
              <a:cxn ang="0">
                <a:pos x="63" y="236"/>
              </a:cxn>
              <a:cxn ang="0">
                <a:pos x="68" y="237"/>
              </a:cxn>
              <a:cxn ang="0">
                <a:pos x="75" y="235"/>
              </a:cxn>
              <a:cxn ang="0">
                <a:pos x="83" y="234"/>
              </a:cxn>
              <a:cxn ang="0">
                <a:pos x="89" y="230"/>
              </a:cxn>
              <a:cxn ang="0">
                <a:pos x="96" y="223"/>
              </a:cxn>
              <a:cxn ang="0">
                <a:pos x="99" y="214"/>
              </a:cxn>
              <a:cxn ang="0">
                <a:pos x="123" y="209"/>
              </a:cxn>
              <a:cxn ang="0">
                <a:pos x="166" y="205"/>
              </a:cxn>
              <a:cxn ang="0">
                <a:pos x="195" y="198"/>
              </a:cxn>
              <a:cxn ang="0">
                <a:pos x="209" y="191"/>
              </a:cxn>
              <a:cxn ang="0">
                <a:pos x="220" y="181"/>
              </a:cxn>
              <a:cxn ang="0">
                <a:pos x="225" y="168"/>
              </a:cxn>
              <a:cxn ang="0">
                <a:pos x="226" y="153"/>
              </a:cxn>
              <a:cxn ang="0">
                <a:pos x="223" y="140"/>
              </a:cxn>
              <a:cxn ang="0">
                <a:pos x="215" y="123"/>
              </a:cxn>
              <a:cxn ang="0">
                <a:pos x="203" y="100"/>
              </a:cxn>
              <a:cxn ang="0">
                <a:pos x="196" y="84"/>
              </a:cxn>
              <a:cxn ang="0">
                <a:pos x="193" y="74"/>
              </a:cxn>
              <a:cxn ang="0">
                <a:pos x="195" y="59"/>
              </a:cxn>
              <a:cxn ang="0">
                <a:pos x="200" y="43"/>
              </a:cxn>
              <a:cxn ang="0">
                <a:pos x="213" y="25"/>
              </a:cxn>
              <a:cxn ang="0">
                <a:pos x="213" y="14"/>
              </a:cxn>
              <a:cxn ang="0">
                <a:pos x="191" y="7"/>
              </a:cxn>
              <a:cxn ang="0">
                <a:pos x="154" y="2"/>
              </a:cxn>
              <a:cxn ang="0">
                <a:pos x="20" y="6"/>
              </a:cxn>
              <a:cxn ang="0">
                <a:pos x="18" y="31"/>
              </a:cxn>
              <a:cxn ang="0">
                <a:pos x="10" y="54"/>
              </a:cxn>
              <a:cxn ang="0">
                <a:pos x="3" y="79"/>
              </a:cxn>
              <a:cxn ang="0">
                <a:pos x="0" y="111"/>
              </a:cxn>
              <a:cxn ang="0">
                <a:pos x="3" y="130"/>
              </a:cxn>
              <a:cxn ang="0">
                <a:pos x="10" y="146"/>
              </a:cxn>
              <a:cxn ang="0">
                <a:pos x="30" y="173"/>
              </a:cxn>
              <a:cxn ang="0">
                <a:pos x="51" y="199"/>
              </a:cxn>
              <a:cxn ang="0">
                <a:pos x="57" y="216"/>
              </a:cxn>
              <a:cxn ang="0">
                <a:pos x="61" y="234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1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912224" y="3228505"/>
            <a:ext cx="207962" cy="458788"/>
          </a:xfrm>
          <a:custGeom>
            <a:avLst/>
            <a:gdLst/>
            <a:ahLst/>
            <a:cxnLst>
              <a:cxn ang="0">
                <a:pos x="287" y="109"/>
              </a:cxn>
              <a:cxn ang="0">
                <a:pos x="250" y="138"/>
              </a:cxn>
              <a:cxn ang="0">
                <a:pos x="199" y="197"/>
              </a:cxn>
              <a:cxn ang="0">
                <a:pos x="198" y="213"/>
              </a:cxn>
              <a:cxn ang="0">
                <a:pos x="206" y="239"/>
              </a:cxn>
              <a:cxn ang="0">
                <a:pos x="221" y="265"/>
              </a:cxn>
              <a:cxn ang="0">
                <a:pos x="240" y="288"/>
              </a:cxn>
              <a:cxn ang="0">
                <a:pos x="259" y="301"/>
              </a:cxn>
              <a:cxn ang="0">
                <a:pos x="279" y="329"/>
              </a:cxn>
              <a:cxn ang="0">
                <a:pos x="295" y="361"/>
              </a:cxn>
              <a:cxn ang="0">
                <a:pos x="305" y="369"/>
              </a:cxn>
              <a:cxn ang="0">
                <a:pos x="438" y="499"/>
              </a:cxn>
              <a:cxn ang="0">
                <a:pos x="471" y="589"/>
              </a:cxn>
              <a:cxn ang="0">
                <a:pos x="478" y="647"/>
              </a:cxn>
              <a:cxn ang="0">
                <a:pos x="476" y="687"/>
              </a:cxn>
              <a:cxn ang="0">
                <a:pos x="478" y="708"/>
              </a:cxn>
              <a:cxn ang="0">
                <a:pos x="447" y="718"/>
              </a:cxn>
              <a:cxn ang="0">
                <a:pos x="420" y="733"/>
              </a:cxn>
              <a:cxn ang="0">
                <a:pos x="391" y="756"/>
              </a:cxn>
              <a:cxn ang="0">
                <a:pos x="365" y="789"/>
              </a:cxn>
              <a:cxn ang="0">
                <a:pos x="348" y="785"/>
              </a:cxn>
              <a:cxn ang="0">
                <a:pos x="319" y="789"/>
              </a:cxn>
              <a:cxn ang="0">
                <a:pos x="313" y="804"/>
              </a:cxn>
              <a:cxn ang="0">
                <a:pos x="289" y="838"/>
              </a:cxn>
              <a:cxn ang="0">
                <a:pos x="256" y="868"/>
              </a:cxn>
              <a:cxn ang="0">
                <a:pos x="239" y="875"/>
              </a:cxn>
              <a:cxn ang="0">
                <a:pos x="232" y="868"/>
              </a:cxn>
              <a:cxn ang="0">
                <a:pos x="225" y="844"/>
              </a:cxn>
              <a:cxn ang="0">
                <a:pos x="231" y="800"/>
              </a:cxn>
              <a:cxn ang="0">
                <a:pos x="253" y="775"/>
              </a:cxn>
              <a:cxn ang="0">
                <a:pos x="277" y="760"/>
              </a:cxn>
              <a:cxn ang="0">
                <a:pos x="295" y="753"/>
              </a:cxn>
              <a:cxn ang="0">
                <a:pos x="305" y="743"/>
              </a:cxn>
              <a:cxn ang="0">
                <a:pos x="314" y="714"/>
              </a:cxn>
              <a:cxn ang="0">
                <a:pos x="330" y="686"/>
              </a:cxn>
              <a:cxn ang="0">
                <a:pos x="365" y="643"/>
              </a:cxn>
              <a:cxn ang="0">
                <a:pos x="371" y="536"/>
              </a:cxn>
              <a:cxn ang="0">
                <a:pos x="364" y="475"/>
              </a:cxn>
              <a:cxn ang="0">
                <a:pos x="341" y="427"/>
              </a:cxn>
              <a:cxn ang="0">
                <a:pos x="297" y="377"/>
              </a:cxn>
              <a:cxn ang="0">
                <a:pos x="219" y="308"/>
              </a:cxn>
              <a:cxn ang="0">
                <a:pos x="161" y="255"/>
              </a:cxn>
              <a:cxn ang="0">
                <a:pos x="108" y="198"/>
              </a:cxn>
              <a:cxn ang="0">
                <a:pos x="72" y="146"/>
              </a:cxn>
              <a:cxn ang="0">
                <a:pos x="42" y="104"/>
              </a:cxn>
              <a:cxn ang="0">
                <a:pos x="46" y="41"/>
              </a:cxn>
              <a:cxn ang="0">
                <a:pos x="129" y="19"/>
              </a:cxn>
              <a:cxn ang="0">
                <a:pos x="148" y="5"/>
              </a:cxn>
              <a:cxn ang="0">
                <a:pos x="175" y="16"/>
              </a:cxn>
              <a:cxn ang="0">
                <a:pos x="221" y="35"/>
              </a:cxn>
              <a:cxn ang="0">
                <a:pos x="269" y="67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2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999536" y="3914305"/>
            <a:ext cx="25400" cy="57151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3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691451" y="3172942"/>
            <a:ext cx="174625" cy="271463"/>
          </a:xfrm>
          <a:custGeom>
            <a:avLst/>
            <a:gdLst/>
            <a:ahLst/>
            <a:cxnLst>
              <a:cxn ang="0">
                <a:pos x="200" y="8"/>
              </a:cxn>
              <a:cxn ang="0">
                <a:pos x="202" y="22"/>
              </a:cxn>
              <a:cxn ang="0">
                <a:pos x="208" y="36"/>
              </a:cxn>
              <a:cxn ang="0">
                <a:pos x="214" y="49"/>
              </a:cxn>
              <a:cxn ang="0">
                <a:pos x="224" y="63"/>
              </a:cxn>
              <a:cxn ang="0">
                <a:pos x="235" y="75"/>
              </a:cxn>
              <a:cxn ang="0">
                <a:pos x="249" y="86"/>
              </a:cxn>
              <a:cxn ang="0">
                <a:pos x="264" y="95"/>
              </a:cxn>
              <a:cxn ang="0">
                <a:pos x="316" y="106"/>
              </a:cxn>
              <a:cxn ang="0">
                <a:pos x="365" y="119"/>
              </a:cxn>
              <a:cxn ang="0">
                <a:pos x="380" y="127"/>
              </a:cxn>
              <a:cxn ang="0">
                <a:pos x="392" y="137"/>
              </a:cxn>
              <a:cxn ang="0">
                <a:pos x="398" y="151"/>
              </a:cxn>
              <a:cxn ang="0">
                <a:pos x="398" y="174"/>
              </a:cxn>
              <a:cxn ang="0">
                <a:pos x="390" y="200"/>
              </a:cxn>
              <a:cxn ang="0">
                <a:pos x="369" y="239"/>
              </a:cxn>
              <a:cxn ang="0">
                <a:pos x="344" y="276"/>
              </a:cxn>
              <a:cxn ang="0">
                <a:pos x="328" y="303"/>
              </a:cxn>
              <a:cxn ang="0">
                <a:pos x="314" y="330"/>
              </a:cxn>
              <a:cxn ang="0">
                <a:pos x="307" y="360"/>
              </a:cxn>
              <a:cxn ang="0">
                <a:pos x="297" y="377"/>
              </a:cxn>
              <a:cxn ang="0">
                <a:pos x="268" y="387"/>
              </a:cxn>
              <a:cxn ang="0">
                <a:pos x="246" y="399"/>
              </a:cxn>
              <a:cxn ang="0">
                <a:pos x="235" y="408"/>
              </a:cxn>
              <a:cxn ang="0">
                <a:pos x="227" y="417"/>
              </a:cxn>
              <a:cxn ang="0">
                <a:pos x="224" y="427"/>
              </a:cxn>
              <a:cxn ang="0">
                <a:pos x="213" y="438"/>
              </a:cxn>
              <a:cxn ang="0">
                <a:pos x="188" y="450"/>
              </a:cxn>
              <a:cxn ang="0">
                <a:pos x="173" y="456"/>
              </a:cxn>
              <a:cxn ang="0">
                <a:pos x="166" y="467"/>
              </a:cxn>
              <a:cxn ang="0">
                <a:pos x="158" y="481"/>
              </a:cxn>
              <a:cxn ang="0">
                <a:pos x="146" y="490"/>
              </a:cxn>
              <a:cxn ang="0">
                <a:pos x="131" y="494"/>
              </a:cxn>
              <a:cxn ang="0">
                <a:pos x="102" y="498"/>
              </a:cxn>
              <a:cxn ang="0">
                <a:pos x="73" y="504"/>
              </a:cxn>
              <a:cxn ang="0">
                <a:pos x="55" y="512"/>
              </a:cxn>
              <a:cxn ang="0">
                <a:pos x="46" y="514"/>
              </a:cxn>
              <a:cxn ang="0">
                <a:pos x="43" y="506"/>
              </a:cxn>
              <a:cxn ang="0">
                <a:pos x="38" y="497"/>
              </a:cxn>
              <a:cxn ang="0">
                <a:pos x="34" y="487"/>
              </a:cxn>
              <a:cxn ang="0">
                <a:pos x="33" y="468"/>
              </a:cxn>
              <a:cxn ang="0">
                <a:pos x="29" y="445"/>
              </a:cxn>
              <a:cxn ang="0">
                <a:pos x="17" y="418"/>
              </a:cxn>
              <a:cxn ang="0">
                <a:pos x="0" y="358"/>
              </a:cxn>
              <a:cxn ang="0">
                <a:pos x="194" y="185"/>
              </a:cxn>
              <a:cxn ang="0">
                <a:pos x="200" y="0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4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418266" y="3226917"/>
            <a:ext cx="376238" cy="385763"/>
          </a:xfrm>
          <a:custGeom>
            <a:avLst/>
            <a:gdLst/>
            <a:ahLst/>
            <a:cxnLst>
              <a:cxn ang="0">
                <a:pos x="231" y="270"/>
              </a:cxn>
              <a:cxn ang="0">
                <a:pos x="245" y="264"/>
              </a:cxn>
              <a:cxn ang="0">
                <a:pos x="272" y="272"/>
              </a:cxn>
              <a:cxn ang="0">
                <a:pos x="654" y="1"/>
              </a:cxn>
              <a:cxn ang="0">
                <a:pos x="679" y="6"/>
              </a:cxn>
              <a:cxn ang="0">
                <a:pos x="711" y="21"/>
              </a:cxn>
              <a:cxn ang="0">
                <a:pos x="730" y="35"/>
              </a:cxn>
              <a:cxn ang="0">
                <a:pos x="760" y="57"/>
              </a:cxn>
              <a:cxn ang="0">
                <a:pos x="791" y="59"/>
              </a:cxn>
              <a:cxn ang="0">
                <a:pos x="831" y="43"/>
              </a:cxn>
              <a:cxn ang="0">
                <a:pos x="854" y="166"/>
              </a:cxn>
              <a:cxn ang="0">
                <a:pos x="866" y="205"/>
              </a:cxn>
              <a:cxn ang="0">
                <a:pos x="850" y="301"/>
              </a:cxn>
              <a:cxn ang="0">
                <a:pos x="848" y="376"/>
              </a:cxn>
              <a:cxn ang="0">
                <a:pos x="834" y="421"/>
              </a:cxn>
              <a:cxn ang="0">
                <a:pos x="802" y="467"/>
              </a:cxn>
              <a:cxn ang="0">
                <a:pos x="777" y="499"/>
              </a:cxn>
              <a:cxn ang="0">
                <a:pos x="758" y="567"/>
              </a:cxn>
              <a:cxn ang="0">
                <a:pos x="711" y="629"/>
              </a:cxn>
              <a:cxn ang="0">
                <a:pos x="680" y="646"/>
              </a:cxn>
              <a:cxn ang="0">
                <a:pos x="644" y="638"/>
              </a:cxn>
              <a:cxn ang="0">
                <a:pos x="611" y="625"/>
              </a:cxn>
              <a:cxn ang="0">
                <a:pos x="566" y="633"/>
              </a:cxn>
              <a:cxn ang="0">
                <a:pos x="530" y="659"/>
              </a:cxn>
              <a:cxn ang="0">
                <a:pos x="511" y="680"/>
              </a:cxn>
              <a:cxn ang="0">
                <a:pos x="491" y="684"/>
              </a:cxn>
              <a:cxn ang="0">
                <a:pos x="470" y="668"/>
              </a:cxn>
              <a:cxn ang="0">
                <a:pos x="446" y="639"/>
              </a:cxn>
              <a:cxn ang="0">
                <a:pos x="421" y="635"/>
              </a:cxn>
              <a:cxn ang="0">
                <a:pos x="405" y="647"/>
              </a:cxn>
              <a:cxn ang="0">
                <a:pos x="384" y="652"/>
              </a:cxn>
              <a:cxn ang="0">
                <a:pos x="350" y="638"/>
              </a:cxn>
              <a:cxn ang="0">
                <a:pos x="306" y="608"/>
              </a:cxn>
              <a:cxn ang="0">
                <a:pos x="271" y="604"/>
              </a:cxn>
              <a:cxn ang="0">
                <a:pos x="237" y="620"/>
              </a:cxn>
              <a:cxn ang="0">
                <a:pos x="209" y="653"/>
              </a:cxn>
              <a:cxn ang="0">
                <a:pos x="190" y="692"/>
              </a:cxn>
              <a:cxn ang="0">
                <a:pos x="178" y="719"/>
              </a:cxn>
              <a:cxn ang="0">
                <a:pos x="149" y="702"/>
              </a:cxn>
              <a:cxn ang="0">
                <a:pos x="100" y="740"/>
              </a:cxn>
              <a:cxn ang="0">
                <a:pos x="66" y="699"/>
              </a:cxn>
              <a:cxn ang="0">
                <a:pos x="64" y="644"/>
              </a:cxn>
              <a:cxn ang="0">
                <a:pos x="50" y="613"/>
              </a:cxn>
              <a:cxn ang="0">
                <a:pos x="20" y="587"/>
              </a:cxn>
              <a:cxn ang="0">
                <a:pos x="5" y="558"/>
              </a:cxn>
              <a:cxn ang="0">
                <a:pos x="53" y="530"/>
              </a:cxn>
              <a:cxn ang="0">
                <a:pos x="76" y="518"/>
              </a:cxn>
              <a:cxn ang="0">
                <a:pos x="139" y="510"/>
              </a:cxn>
              <a:cxn ang="0">
                <a:pos x="182" y="500"/>
              </a:cxn>
              <a:cxn ang="0">
                <a:pos x="201" y="475"/>
              </a:cxn>
              <a:cxn ang="0">
                <a:pos x="219" y="424"/>
              </a:cxn>
              <a:cxn ang="0">
                <a:pos x="224" y="367"/>
              </a:cxn>
              <a:cxn ang="0">
                <a:pos x="219" y="320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5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4088067" y="2844330"/>
            <a:ext cx="300038" cy="260351"/>
          </a:xfrm>
          <a:custGeom>
            <a:avLst/>
            <a:gdLst/>
            <a:ahLst/>
            <a:cxnLst>
              <a:cxn ang="0">
                <a:pos x="648" y="53"/>
              </a:cxn>
              <a:cxn ang="0">
                <a:pos x="657" y="161"/>
              </a:cxn>
              <a:cxn ang="0">
                <a:pos x="661" y="167"/>
              </a:cxn>
              <a:cxn ang="0">
                <a:pos x="677" y="177"/>
              </a:cxn>
              <a:cxn ang="0">
                <a:pos x="694" y="189"/>
              </a:cxn>
              <a:cxn ang="0">
                <a:pos x="697" y="198"/>
              </a:cxn>
              <a:cxn ang="0">
                <a:pos x="694" y="211"/>
              </a:cxn>
              <a:cxn ang="0">
                <a:pos x="685" y="217"/>
              </a:cxn>
              <a:cxn ang="0">
                <a:pos x="655" y="218"/>
              </a:cxn>
              <a:cxn ang="0">
                <a:pos x="605" y="228"/>
              </a:cxn>
              <a:cxn ang="0">
                <a:pos x="567" y="250"/>
              </a:cxn>
              <a:cxn ang="0">
                <a:pos x="549" y="267"/>
              </a:cxn>
              <a:cxn ang="0">
                <a:pos x="539" y="288"/>
              </a:cxn>
              <a:cxn ang="0">
                <a:pos x="521" y="302"/>
              </a:cxn>
              <a:cxn ang="0">
                <a:pos x="491" y="324"/>
              </a:cxn>
              <a:cxn ang="0">
                <a:pos x="455" y="352"/>
              </a:cxn>
              <a:cxn ang="0">
                <a:pos x="420" y="370"/>
              </a:cxn>
              <a:cxn ang="0">
                <a:pos x="372" y="377"/>
              </a:cxn>
              <a:cxn ang="0">
                <a:pos x="344" y="380"/>
              </a:cxn>
              <a:cxn ang="0">
                <a:pos x="316" y="396"/>
              </a:cxn>
              <a:cxn ang="0">
                <a:pos x="290" y="417"/>
              </a:cxn>
              <a:cxn ang="0">
                <a:pos x="265" y="426"/>
              </a:cxn>
              <a:cxn ang="0">
                <a:pos x="5" y="496"/>
              </a:cxn>
              <a:cxn ang="0">
                <a:pos x="32" y="487"/>
              </a:cxn>
              <a:cxn ang="0">
                <a:pos x="85" y="473"/>
              </a:cxn>
              <a:cxn ang="0">
                <a:pos x="93" y="459"/>
              </a:cxn>
              <a:cxn ang="0">
                <a:pos x="99" y="438"/>
              </a:cxn>
              <a:cxn ang="0">
                <a:pos x="119" y="422"/>
              </a:cxn>
              <a:cxn ang="0">
                <a:pos x="160" y="399"/>
              </a:cxn>
              <a:cxn ang="0">
                <a:pos x="181" y="382"/>
              </a:cxn>
              <a:cxn ang="0">
                <a:pos x="192" y="357"/>
              </a:cxn>
              <a:cxn ang="0">
                <a:pos x="193" y="316"/>
              </a:cxn>
              <a:cxn ang="0">
                <a:pos x="195" y="254"/>
              </a:cxn>
              <a:cxn ang="0">
                <a:pos x="192" y="192"/>
              </a:cxn>
              <a:cxn ang="0">
                <a:pos x="214" y="189"/>
              </a:cxn>
              <a:cxn ang="0">
                <a:pos x="228" y="179"/>
              </a:cxn>
              <a:cxn ang="0">
                <a:pos x="241" y="165"/>
              </a:cxn>
              <a:cxn ang="0">
                <a:pos x="252" y="152"/>
              </a:cxn>
              <a:cxn ang="0">
                <a:pos x="281" y="146"/>
              </a:cxn>
              <a:cxn ang="0">
                <a:pos x="314" y="143"/>
              </a:cxn>
              <a:cxn ang="0">
                <a:pos x="340" y="131"/>
              </a:cxn>
              <a:cxn ang="0">
                <a:pos x="360" y="108"/>
              </a:cxn>
              <a:cxn ang="0">
                <a:pos x="388" y="48"/>
              </a:cxn>
              <a:cxn ang="0">
                <a:pos x="407" y="12"/>
              </a:cxn>
              <a:cxn ang="0">
                <a:pos x="426" y="8"/>
              </a:cxn>
              <a:cxn ang="0">
                <a:pos x="449" y="20"/>
              </a:cxn>
              <a:cxn ang="0">
                <a:pos x="512" y="18"/>
              </a:cxn>
              <a:cxn ang="0">
                <a:pos x="590" y="13"/>
              </a:cxn>
              <a:cxn ang="0">
                <a:pos x="597" y="17"/>
              </a:cxn>
              <a:cxn ang="0">
                <a:pos x="605" y="36"/>
              </a:cxn>
              <a:cxn ang="0">
                <a:pos x="611" y="51"/>
              </a:cxn>
              <a:cxn ang="0">
                <a:pos x="618" y="50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6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788154" y="1774381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7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299324" y="1758506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0099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8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442199" y="1741018"/>
            <a:ext cx="63500" cy="57151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00CC0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9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478726" y="1748954"/>
            <a:ext cx="130175" cy="57151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0" name="TextBox 549"/>
          <p:cNvSpPr txBox="1"/>
          <p:nvPr/>
        </p:nvSpPr>
        <p:spPr>
          <a:xfrm>
            <a:off x="395536" y="2520506"/>
            <a:ext cx="121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SGS/NOA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SA/NIST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1" name="TextBox 550"/>
          <p:cNvSpPr txBox="1"/>
          <p:nvPr/>
        </p:nvSpPr>
        <p:spPr>
          <a:xfrm>
            <a:off x="5838282" y="1871158"/>
            <a:ext cx="14303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OSHYDROMET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2" name="TextBox 551"/>
          <p:cNvSpPr txBox="1"/>
          <p:nvPr/>
        </p:nvSpPr>
        <p:spPr>
          <a:xfrm>
            <a:off x="6629400" y="2749106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MA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3" name="TextBox 552"/>
          <p:cNvSpPr txBox="1"/>
          <p:nvPr/>
        </p:nvSpPr>
        <p:spPr>
          <a:xfrm>
            <a:off x="5943600" y="3441866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MD/ISRO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4" name="TextBox 553"/>
          <p:cNvSpPr txBox="1"/>
          <p:nvPr/>
        </p:nvSpPr>
        <p:spPr>
          <a:xfrm>
            <a:off x="7623432" y="2633517"/>
            <a:ext cx="943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JMA/JAXA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5" name="TextBox 554"/>
          <p:cNvSpPr txBox="1"/>
          <p:nvPr/>
        </p:nvSpPr>
        <p:spPr>
          <a:xfrm>
            <a:off x="7052725" y="2548462"/>
            <a:ext cx="533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KMA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6" name="TextBox 555"/>
          <p:cNvSpPr txBox="1"/>
          <p:nvPr/>
        </p:nvSpPr>
        <p:spPr>
          <a:xfrm>
            <a:off x="3673724" y="1672766"/>
            <a:ext cx="1066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UMETSAT</a:t>
            </a:r>
          </a:p>
        </p:txBody>
      </p:sp>
      <p:sp>
        <p:nvSpPr>
          <p:cNvPr id="557" name="TextBox 556"/>
          <p:cNvSpPr txBox="1"/>
          <p:nvPr/>
        </p:nvSpPr>
        <p:spPr>
          <a:xfrm>
            <a:off x="210640" y="5771706"/>
            <a:ext cx="3065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Obs.      </a:t>
            </a:r>
            <a:r>
              <a:rPr lang="en-US" sz="1600" b="1" kern="0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ESA, CEOS(WGCV)</a:t>
            </a:r>
            <a:endParaRPr lang="en-US" sz="1600" b="1" kern="0" dirty="0">
              <a:solidFill>
                <a:prstClr val="black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ASSO.   </a:t>
            </a:r>
            <a:r>
              <a:rPr lang="en-US" sz="1600" b="1" kern="0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GPM X-</a:t>
            </a:r>
            <a:r>
              <a:rPr lang="en-US" sz="1600" b="1" kern="0" dirty="0" err="1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cal</a:t>
            </a:r>
            <a:endParaRPr lang="en-US" sz="1600" b="1" kern="0" dirty="0">
              <a:solidFill>
                <a:prstClr val="black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558" name="TextBox 557"/>
          <p:cNvSpPr txBox="1"/>
          <p:nvPr/>
        </p:nvSpPr>
        <p:spPr>
          <a:xfrm>
            <a:off x="4298159" y="1073426"/>
            <a:ext cx="8382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MO</a:t>
            </a:r>
            <a:endParaRPr lang="en-US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60" name="Picture 2" descr="http://www.spaceweather.eu/files/images/wmo.jpg"/>
          <p:cNvPicPr>
            <a:picLocks noChangeAspect="1" noChangeArrowheads="1"/>
          </p:cNvPicPr>
          <p:nvPr/>
        </p:nvPicPr>
        <p:blipFill>
          <a:blip r:embed="rId38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34138"/>
          <a:stretch>
            <a:fillRect/>
          </a:stretch>
        </p:blipFill>
        <p:spPr bwMode="auto">
          <a:xfrm>
            <a:off x="3787047" y="843465"/>
            <a:ext cx="559640" cy="641319"/>
          </a:xfrm>
          <a:prstGeom prst="rect">
            <a:avLst/>
          </a:prstGeom>
          <a:noFill/>
        </p:spPr>
      </p:pic>
      <p:sp>
        <p:nvSpPr>
          <p:cNvPr id="561" name="TextBox 560"/>
          <p:cNvSpPr txBox="1"/>
          <p:nvPr/>
        </p:nvSpPr>
        <p:spPr>
          <a:xfrm>
            <a:off x="3239344" y="6279705"/>
            <a:ext cx="3763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kern="0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14 Members Worldwide</a:t>
            </a:r>
          </a:p>
        </p:txBody>
      </p:sp>
      <p:sp>
        <p:nvSpPr>
          <p:cNvPr id="562" name="TextBox 561"/>
          <p:cNvSpPr txBox="1"/>
          <p:nvPr/>
        </p:nvSpPr>
        <p:spPr>
          <a:xfrm>
            <a:off x="3693948" y="2343906"/>
            <a:ext cx="64217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NES</a:t>
            </a:r>
          </a:p>
        </p:txBody>
      </p:sp>
    </p:spTree>
    <p:extLst>
      <p:ext uri="{BB962C8B-B14F-4D97-AF65-F5344CB8AC3E}">
        <p14:creationId xmlns:p14="http://schemas.microsoft.com/office/powerpoint/2010/main" val="42345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테마">
  <a:themeElements>
    <a:clrScheme name="KMA">
      <a:dk1>
        <a:sysClr val="windowText" lastClr="000000"/>
      </a:dk1>
      <a:lt1>
        <a:sysClr val="window" lastClr="FFFFFF"/>
      </a:lt1>
      <a:dk2>
        <a:srgbClr val="0F298F"/>
      </a:dk2>
      <a:lt2>
        <a:srgbClr val="BFE7F1"/>
      </a:lt2>
      <a:accent1>
        <a:srgbClr val="0098BC"/>
      </a:accent1>
      <a:accent2>
        <a:srgbClr val="0A58A5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MA">
      <a:majorFont>
        <a:latin typeface="Frutiger67-Condensed"/>
        <a:ea typeface="Cre고딕 B"/>
        <a:cs typeface=""/>
      </a:majorFont>
      <a:minorFont>
        <a:latin typeface="Frutiger 55 Roman"/>
        <a:ea typeface="-윤고딕12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83</TotalTime>
  <Words>1192</Words>
  <Application>Microsoft Office PowerPoint</Application>
  <PresentationFormat>全屏显示(4:3)</PresentationFormat>
  <Paragraphs>355</Paragraphs>
  <Slides>21</Slides>
  <Notes>4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2" baseType="lpstr">
      <vt:lpstr>Office 테마</vt:lpstr>
      <vt:lpstr>PowerPoint 演示文稿</vt:lpstr>
      <vt:lpstr>PowerPoint 演示文稿</vt:lpstr>
      <vt:lpstr>Background of GSICS</vt:lpstr>
      <vt:lpstr>GSICS?</vt:lpstr>
      <vt:lpstr>Who benefits from GSICS ?</vt:lpstr>
      <vt:lpstr>Evolving scope of GSICS</vt:lpstr>
      <vt:lpstr>GSICS Services and Tools</vt:lpstr>
      <vt:lpstr>GSICS deliverables</vt:lpstr>
      <vt:lpstr>GSICS Members</vt:lpstr>
      <vt:lpstr>GSICS Structure</vt:lpstr>
      <vt:lpstr>PowerPoint 演示文稿</vt:lpstr>
      <vt:lpstr>IR Product Development within GSICS (IR)</vt:lpstr>
      <vt:lpstr>DCC calibration Status (VIS/NIR) </vt:lpstr>
      <vt:lpstr>Improving the lunar reference </vt:lpstr>
      <vt:lpstr>Operational coordination</vt:lpstr>
      <vt:lpstr>Where to get the data?</vt:lpstr>
      <vt:lpstr>Conclusions</vt:lpstr>
      <vt:lpstr>PowerPoint 演示文稿</vt:lpstr>
      <vt:lpstr>PowerPoint 演示文稿</vt:lpstr>
      <vt:lpstr>Notes to speakers</vt:lpstr>
      <vt:lpstr>PowerPoint 演示文稿</vt:lpstr>
    </vt:vector>
  </TitlesOfParts>
  <Company>x4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파워포인트포맷 A</dc:title>
  <dc:creator>euna</dc:creator>
  <cp:lastModifiedBy>lenovo</cp:lastModifiedBy>
  <cp:revision>830</cp:revision>
  <cp:lastPrinted>2016-09-01T13:05:38Z</cp:lastPrinted>
  <dcterms:created xsi:type="dcterms:W3CDTF">2008-10-15T11:47:55Z</dcterms:created>
  <dcterms:modified xsi:type="dcterms:W3CDTF">2019-03-02T12:37:04Z</dcterms:modified>
</cp:coreProperties>
</file>